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62" r:id="rId4"/>
  </p:sldMasterIdLst>
  <p:notesMasterIdLst>
    <p:notesMasterId r:id="rId21"/>
  </p:notesMasterIdLst>
  <p:handoutMasterIdLst>
    <p:handoutMasterId r:id="rId22"/>
  </p:handoutMasterIdLst>
  <p:sldIdLst>
    <p:sldId id="259" r:id="rId5"/>
    <p:sldId id="285" r:id="rId6"/>
    <p:sldId id="738" r:id="rId7"/>
    <p:sldId id="444" r:id="rId8"/>
    <p:sldId id="729" r:id="rId9"/>
    <p:sldId id="503" r:id="rId10"/>
    <p:sldId id="728" r:id="rId11"/>
    <p:sldId id="447" r:id="rId12"/>
    <p:sldId id="482" r:id="rId13"/>
    <p:sldId id="449" r:id="rId14"/>
    <p:sldId id="493" r:id="rId15"/>
    <p:sldId id="448" r:id="rId16"/>
    <p:sldId id="492" r:id="rId17"/>
    <p:sldId id="491" r:id="rId18"/>
    <p:sldId id="450" r:id="rId19"/>
    <p:sldId id="282" r:id="rId20"/>
  </p:sldIdLst>
  <p:sldSz cx="9144000" cy="5143500" type="screen16x9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554" userDrawn="1">
          <p15:clr>
            <a:srgbClr val="A4A3A4"/>
          </p15:clr>
        </p15:guide>
        <p15:guide id="2" pos="680" userDrawn="1">
          <p15:clr>
            <a:srgbClr val="A4A3A4"/>
          </p15:clr>
        </p15:guide>
        <p15:guide id="3" pos="510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ren Lizeth Cuchigay Eslava" initials="KLCE" lastIdx="2" clrIdx="0">
    <p:extLst>
      <p:ext uri="{19B8F6BF-5375-455C-9EA6-DF929625EA0E}">
        <p15:presenceInfo xmlns:p15="http://schemas.microsoft.com/office/powerpoint/2012/main" userId="Karen Lizeth Cuchigay Eslav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9862F"/>
    <a:srgbClr val="E7E8EA"/>
    <a:srgbClr val="CCCED3"/>
    <a:srgbClr val="D7CDFE"/>
    <a:srgbClr val="F9FEB7"/>
    <a:srgbClr val="EDC6FE"/>
    <a:srgbClr val="2D6DF4"/>
    <a:srgbClr val="0054BC"/>
    <a:srgbClr val="0691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BC0F65D-E73A-42EA-8B94-786455A90AC8}" v="136" dt="2021-03-24T15:22:23.70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Estilo medio 2 - Énfasis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Estilo medio 2 - Énfasis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10A1B5D5-9B99-4C35-A422-299274C87663}" styleName="Estilo medio 1 - Énfasis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8FB837D-C827-4EFA-A057-4D05807E0F7C}" styleName="Estilo temático 1 - Énfasis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38B1855-1B75-4FBE-930C-398BA8C253C6}" styleName="Estilo temático 2 - Énfasis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113A9D2-9D6B-4929-AA2D-F23B5EE8CBE7}" styleName="Estilo temático 2 - Énfasis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Estilo temático 2 - Énfasis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Estilo temático 2 - Énfasis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Estilo temático 2 - Énfasis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Estilo temático 2 - Énfasis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Estilo cl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93D81CF-94F2-401A-BA57-92F5A7B2D0C5}" styleName="Estilo medio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Estilo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Estilo medio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202B0CA-FC54-4496-8BCA-5EF66A818D29}" styleName="Estilo oscuro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8034E78-7F5D-4C2E-B375-FC64B27BC917}" styleName="Estilo oscuro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114" autoAdjust="0"/>
    <p:restoredTop sz="96642"/>
  </p:normalViewPr>
  <p:slideViewPr>
    <p:cSldViewPr snapToGrid="0" snapToObjects="1">
      <p:cViewPr varScale="1">
        <p:scale>
          <a:sx n="95" d="100"/>
          <a:sy n="95" d="100"/>
        </p:scale>
        <p:origin x="768" y="78"/>
      </p:cViewPr>
      <p:guideLst>
        <p:guide orient="horz" pos="554"/>
        <p:guide pos="680"/>
        <p:guide pos="510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67" d="100"/>
          <a:sy n="67" d="100"/>
        </p:scale>
        <p:origin x="3228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commentAuthors" Target="commentAuthors.xml"/><Relationship Id="rId28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912686D-009B-4755-BF3C-B1645D0A938E}" type="datetimeFigureOut">
              <a:rPr lang="es-ES" smtClean="0"/>
              <a:t>29/03/2021</a:t>
            </a:fld>
            <a:endParaRPr lang="es-ES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CDAE71F-6302-4695-A732-5DA60A1BF971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664184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06" y="685800"/>
            <a:ext cx="4572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78417085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g495ef59f35_0_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0" name="Google Shape;120;g495ef59f35_0_4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192622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sz="1200" b="1" i="0" u="none" strike="noStrike" cap="none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264896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positiva de título 1 1 1" preserve="1" userDrawn="1">
  <p:cSld name="1_Diapositiva de título 1 1 1">
    <p:bg>
      <p:bgPr>
        <a:solidFill>
          <a:srgbClr val="069169"/>
        </a:solidFill>
        <a:effectLst/>
      </p:bgPr>
    </p:bg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5"/>
          <p:cNvSpPr txBox="1"/>
          <p:nvPr/>
        </p:nvSpPr>
        <p:spPr>
          <a:xfrm>
            <a:off x="8336496" y="54646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s-CO" sz="7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rPr>
              <a:t>‹Nº›</a:t>
            </a:fld>
            <a:endParaRPr sz="700" b="0" i="0" u="none" strike="noStrike" cap="none">
              <a:solidFill>
                <a:srgbClr val="0054BC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sp>
        <p:nvSpPr>
          <p:cNvPr id="31" name="Google Shape;31;p5"/>
          <p:cNvSpPr txBox="1"/>
          <p:nvPr userDrawn="1"/>
        </p:nvSpPr>
        <p:spPr>
          <a:xfrm>
            <a:off x="8336496" y="-21554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s-CO" sz="700" b="0" i="0" u="none" strike="noStrike" cap="none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rPr>
              <a:t>‹Nº›</a:t>
            </a:fld>
            <a:endParaRPr sz="700" b="0" i="0" u="none" strike="noStrike" cap="none" dirty="0">
              <a:solidFill>
                <a:srgbClr val="FFFFFF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sp>
        <p:nvSpPr>
          <p:cNvPr id="32" name="Google Shape;32;p5"/>
          <p:cNvSpPr/>
          <p:nvPr/>
        </p:nvSpPr>
        <p:spPr>
          <a:xfrm>
            <a:off x="3213694" y="0"/>
            <a:ext cx="5935223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" name="Google Shape;33;p5"/>
          <p:cNvSpPr txBox="1"/>
          <p:nvPr/>
        </p:nvSpPr>
        <p:spPr>
          <a:xfrm>
            <a:off x="1098468" y="4856142"/>
            <a:ext cx="4293000" cy="34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s-CO" sz="600" b="0" i="0" u="none" strike="noStrike" cap="none">
                <a:solidFill>
                  <a:schemeClr val="lt1"/>
                </a:solidFill>
                <a:latin typeface="Work Sans"/>
                <a:ea typeface="Work Sans"/>
                <a:cs typeface="Work Sans"/>
                <a:sym typeface="Work Sans"/>
              </a:rPr>
              <a:t>Esta presentación es propiedad intelectual controlada y producida por la Presidencia de la República.</a:t>
            </a:r>
            <a:endParaRPr sz="600" b="0" i="0" u="none" strike="noStrike" cap="none">
              <a:solidFill>
                <a:schemeClr val="lt1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2FAB7457-61BC-0144-984D-ACFC03D1DF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3892" y="346605"/>
            <a:ext cx="2616953" cy="746654"/>
          </a:xfrm>
          <a:prstGeom prst="rect">
            <a:avLst/>
          </a:prstGeom>
        </p:spPr>
      </p:pic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09EBB03E-157E-1743-86F1-8874FFB41B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61004" y="1439863"/>
            <a:ext cx="5149596" cy="1349375"/>
          </a:xfrm>
        </p:spPr>
        <p:txBody>
          <a:bodyPr/>
          <a:lstStyle>
            <a:lvl1pPr marL="95250" indent="0" algn="r">
              <a:buNone/>
              <a:defRPr sz="3000">
                <a:solidFill>
                  <a:srgbClr val="0054BC"/>
                </a:solidFill>
              </a:defRPr>
            </a:lvl1pPr>
          </a:lstStyle>
          <a:p>
            <a:r>
              <a:rPr lang="es-ES" dirty="0"/>
              <a:t>Editar los estilos de texto del patrón</a:t>
            </a:r>
            <a:endParaRPr lang="es-CO" dirty="0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06C4BAFA-CF82-7743-AB31-DAA7A61A69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366" y="3771884"/>
            <a:ext cx="3904083" cy="732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1146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y texto">
  <p:cSld name="Contenido">
    <p:bg>
      <p:bgPr>
        <a:solidFill>
          <a:srgbClr val="DCEAFB"/>
        </a:solidFill>
        <a:effectLst/>
      </p:bgPr>
    </p:bg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8"/>
          <p:cNvSpPr txBox="1">
            <a:spLocks noGrp="1"/>
          </p:cNvSpPr>
          <p:nvPr>
            <p:ph type="title"/>
          </p:nvPr>
        </p:nvSpPr>
        <p:spPr>
          <a:xfrm>
            <a:off x="367469" y="620206"/>
            <a:ext cx="3264880" cy="640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Work Sans SemiBold"/>
              <a:buNone/>
              <a:defRPr sz="3000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9pPr>
          </a:lstStyle>
          <a:p>
            <a:endParaRPr/>
          </a:p>
        </p:txBody>
      </p:sp>
      <p:sp>
        <p:nvSpPr>
          <p:cNvPr id="48" name="Google Shape;48;p8"/>
          <p:cNvSpPr txBox="1">
            <a:spLocks noGrp="1"/>
          </p:cNvSpPr>
          <p:nvPr>
            <p:ph type="body" idx="1"/>
          </p:nvPr>
        </p:nvSpPr>
        <p:spPr>
          <a:xfrm>
            <a:off x="3768725" y="1888923"/>
            <a:ext cx="1883400" cy="44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457200" lvl="0" indent="-2286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54BC"/>
              </a:buClr>
              <a:buSzPts val="1000"/>
              <a:buNone/>
              <a:defRPr sz="1000">
                <a:solidFill>
                  <a:srgbClr val="0054BC"/>
                </a:solidFill>
              </a:defRPr>
            </a:lvl1pPr>
            <a:lvl2pPr marL="914400" lvl="1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2pPr>
            <a:lvl3pPr marL="1371600" lvl="2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3pPr>
            <a:lvl4pPr marL="1828800" lvl="3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4pPr>
            <a:lvl5pPr marL="2286000" lvl="4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5pPr>
            <a:lvl6pPr marL="2743200" lvl="5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6pPr>
            <a:lvl7pPr marL="3200400" lvl="6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7pPr>
            <a:lvl8pPr marL="3657600" lvl="7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8pPr>
            <a:lvl9pPr marL="4114800" lvl="8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9pPr>
          </a:lstStyle>
          <a:p>
            <a:endParaRPr/>
          </a:p>
        </p:txBody>
      </p:sp>
      <p:sp>
        <p:nvSpPr>
          <p:cNvPr id="50" name="Google Shape;50;p8"/>
          <p:cNvSpPr txBox="1"/>
          <p:nvPr/>
        </p:nvSpPr>
        <p:spPr>
          <a:xfrm>
            <a:off x="8273320" y="0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s-CO" sz="700" b="0" i="0" u="none" strike="noStrike" cap="none">
                <a:solidFill>
                  <a:srgbClr val="0066CD"/>
                </a:solidFill>
                <a:latin typeface="Work Sans"/>
                <a:ea typeface="Work Sans"/>
                <a:cs typeface="Work Sans"/>
                <a:sym typeface="Work Sans"/>
              </a:rPr>
              <a:t>‹Nº›</a:t>
            </a:fld>
            <a:endParaRPr sz="700" b="0" i="0" u="none" strike="noStrike" cap="none" dirty="0">
              <a:solidFill>
                <a:srgbClr val="0066CD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sp>
        <p:nvSpPr>
          <p:cNvPr id="51" name="Google Shape;51;p8"/>
          <p:cNvSpPr txBox="1">
            <a:spLocks noGrp="1"/>
          </p:cNvSpPr>
          <p:nvPr>
            <p:ph type="body" idx="2"/>
          </p:nvPr>
        </p:nvSpPr>
        <p:spPr>
          <a:xfrm>
            <a:off x="3768286" y="1440531"/>
            <a:ext cx="1883400" cy="44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457200" lvl="0" indent="-2286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54BC"/>
              </a:buClr>
              <a:buSzPts val="1000"/>
              <a:buNone/>
              <a:defRPr sz="1000">
                <a:solidFill>
                  <a:srgbClr val="0054BC"/>
                </a:solidFill>
              </a:defRPr>
            </a:lvl1pPr>
            <a:lvl2pPr marL="914400" lvl="1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2pPr>
            <a:lvl3pPr marL="1371600" lvl="2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3pPr>
            <a:lvl4pPr marL="1828800" lvl="3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4pPr>
            <a:lvl5pPr marL="2286000" lvl="4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5pPr>
            <a:lvl6pPr marL="2743200" lvl="5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6pPr>
            <a:lvl7pPr marL="3200400" lvl="6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7pPr>
            <a:lvl8pPr marL="3657600" lvl="7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8pPr>
            <a:lvl9pPr marL="4114800" lvl="8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9pPr>
          </a:lstStyle>
          <a:p>
            <a:endParaRPr/>
          </a:p>
        </p:txBody>
      </p:sp>
      <p:sp>
        <p:nvSpPr>
          <p:cNvPr id="52" name="Google Shape;52;p8"/>
          <p:cNvSpPr txBox="1">
            <a:spLocks noGrp="1"/>
          </p:cNvSpPr>
          <p:nvPr>
            <p:ph type="body" idx="3"/>
          </p:nvPr>
        </p:nvSpPr>
        <p:spPr>
          <a:xfrm>
            <a:off x="3768725" y="2327959"/>
            <a:ext cx="1883400" cy="44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457200" lvl="0" indent="-2286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54BC"/>
              </a:buClr>
              <a:buSzPts val="1000"/>
              <a:buNone/>
              <a:defRPr sz="1000">
                <a:solidFill>
                  <a:srgbClr val="0054BC"/>
                </a:solidFill>
              </a:defRPr>
            </a:lvl1pPr>
            <a:lvl2pPr marL="914400" lvl="1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2pPr>
            <a:lvl3pPr marL="1371600" lvl="2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3pPr>
            <a:lvl4pPr marL="1828800" lvl="3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4pPr>
            <a:lvl5pPr marL="2286000" lvl="4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5pPr>
            <a:lvl6pPr marL="2743200" lvl="5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6pPr>
            <a:lvl7pPr marL="3200400" lvl="6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7pPr>
            <a:lvl8pPr marL="3657600" lvl="7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8pPr>
            <a:lvl9pPr marL="4114800" lvl="8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9pPr>
          </a:lstStyle>
          <a:p>
            <a:endParaRPr/>
          </a:p>
        </p:txBody>
      </p:sp>
      <p:sp>
        <p:nvSpPr>
          <p:cNvPr id="53" name="Google Shape;53;p8"/>
          <p:cNvSpPr txBox="1">
            <a:spLocks noGrp="1"/>
          </p:cNvSpPr>
          <p:nvPr>
            <p:ph type="body" idx="4"/>
          </p:nvPr>
        </p:nvSpPr>
        <p:spPr>
          <a:xfrm>
            <a:off x="3768725" y="2809186"/>
            <a:ext cx="1883400" cy="44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457200" lvl="0" indent="-2286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54BC"/>
              </a:buClr>
              <a:buSzPts val="1000"/>
              <a:buNone/>
              <a:defRPr sz="1000">
                <a:solidFill>
                  <a:srgbClr val="0054BC"/>
                </a:solidFill>
              </a:defRPr>
            </a:lvl1pPr>
            <a:lvl2pPr marL="914400" lvl="1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2pPr>
            <a:lvl3pPr marL="1371600" lvl="2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3pPr>
            <a:lvl4pPr marL="1828800" lvl="3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4pPr>
            <a:lvl5pPr marL="2286000" lvl="4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5pPr>
            <a:lvl6pPr marL="2743200" lvl="5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6pPr>
            <a:lvl7pPr marL="3200400" lvl="6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7pPr>
            <a:lvl8pPr marL="3657600" lvl="7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8pPr>
            <a:lvl9pPr marL="4114800" lvl="8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9pPr>
          </a:lstStyle>
          <a:p>
            <a:endParaRPr/>
          </a:p>
        </p:txBody>
      </p:sp>
      <p:sp>
        <p:nvSpPr>
          <p:cNvPr id="54" name="Google Shape;54;p8"/>
          <p:cNvSpPr txBox="1">
            <a:spLocks noGrp="1"/>
          </p:cNvSpPr>
          <p:nvPr>
            <p:ph type="body" idx="5"/>
          </p:nvPr>
        </p:nvSpPr>
        <p:spPr>
          <a:xfrm>
            <a:off x="3123123" y="1507211"/>
            <a:ext cx="574800" cy="2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457200" lvl="0" indent="-228600" algn="r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54BC"/>
              </a:buClr>
              <a:buSzPts val="1000"/>
              <a:buNone/>
              <a:defRPr sz="1000" b="1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914400" lvl="1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2pPr>
            <a:lvl3pPr marL="1371600" lvl="2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3pPr>
            <a:lvl4pPr marL="1828800" lvl="3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4pPr>
            <a:lvl5pPr marL="2286000" lvl="4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5pPr>
            <a:lvl6pPr marL="2743200" lvl="5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6pPr>
            <a:lvl7pPr marL="3200400" lvl="6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7pPr>
            <a:lvl8pPr marL="3657600" lvl="7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8pPr>
            <a:lvl9pPr marL="4114800" lvl="8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9pPr>
          </a:lstStyle>
          <a:p>
            <a:endParaRPr/>
          </a:p>
        </p:txBody>
      </p:sp>
      <p:sp>
        <p:nvSpPr>
          <p:cNvPr id="55" name="Google Shape;55;p8"/>
          <p:cNvSpPr txBox="1">
            <a:spLocks noGrp="1"/>
          </p:cNvSpPr>
          <p:nvPr>
            <p:ph type="body" idx="6"/>
          </p:nvPr>
        </p:nvSpPr>
        <p:spPr>
          <a:xfrm>
            <a:off x="6366376" y="1888923"/>
            <a:ext cx="1883400" cy="44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457200" lvl="0" indent="-2286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54BC"/>
              </a:buClr>
              <a:buSzPts val="1000"/>
              <a:buNone/>
              <a:defRPr sz="1000">
                <a:solidFill>
                  <a:srgbClr val="0054BC"/>
                </a:solidFill>
              </a:defRPr>
            </a:lvl1pPr>
            <a:lvl2pPr marL="914400" lvl="1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2pPr>
            <a:lvl3pPr marL="1371600" lvl="2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3pPr>
            <a:lvl4pPr marL="1828800" lvl="3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4pPr>
            <a:lvl5pPr marL="2286000" lvl="4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5pPr>
            <a:lvl6pPr marL="2743200" lvl="5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6pPr>
            <a:lvl7pPr marL="3200400" lvl="6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7pPr>
            <a:lvl8pPr marL="3657600" lvl="7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8pPr>
            <a:lvl9pPr marL="4114800" lvl="8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9pPr>
          </a:lstStyle>
          <a:p>
            <a:endParaRPr/>
          </a:p>
        </p:txBody>
      </p:sp>
      <p:sp>
        <p:nvSpPr>
          <p:cNvPr id="56" name="Google Shape;56;p8"/>
          <p:cNvSpPr txBox="1">
            <a:spLocks noGrp="1"/>
          </p:cNvSpPr>
          <p:nvPr>
            <p:ph type="body" idx="7"/>
          </p:nvPr>
        </p:nvSpPr>
        <p:spPr>
          <a:xfrm>
            <a:off x="3123122" y="1976876"/>
            <a:ext cx="574800" cy="2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457200" lvl="0" indent="-228600" algn="r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54BC"/>
              </a:buClr>
              <a:buSzPts val="1000"/>
              <a:buNone/>
              <a:defRPr sz="1000" b="1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914400" lvl="1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2pPr>
            <a:lvl3pPr marL="1371600" lvl="2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3pPr>
            <a:lvl4pPr marL="1828800" lvl="3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4pPr>
            <a:lvl5pPr marL="2286000" lvl="4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5pPr>
            <a:lvl6pPr marL="2743200" lvl="5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6pPr>
            <a:lvl7pPr marL="3200400" lvl="6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7pPr>
            <a:lvl8pPr marL="3657600" lvl="7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8pPr>
            <a:lvl9pPr marL="4114800" lvl="8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9pPr>
          </a:lstStyle>
          <a:p>
            <a:endParaRPr/>
          </a:p>
        </p:txBody>
      </p:sp>
      <p:sp>
        <p:nvSpPr>
          <p:cNvPr id="57" name="Google Shape;57;p8"/>
          <p:cNvSpPr txBox="1">
            <a:spLocks noGrp="1"/>
          </p:cNvSpPr>
          <p:nvPr>
            <p:ph type="body" idx="8"/>
          </p:nvPr>
        </p:nvSpPr>
        <p:spPr>
          <a:xfrm>
            <a:off x="3123849" y="2412201"/>
            <a:ext cx="574800" cy="2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457200" lvl="0" indent="-228600" algn="r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54BC"/>
              </a:buClr>
              <a:buSzPts val="1000"/>
              <a:buNone/>
              <a:defRPr sz="1000" b="1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914400" lvl="1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2pPr>
            <a:lvl3pPr marL="1371600" lvl="2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3pPr>
            <a:lvl4pPr marL="1828800" lvl="3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4pPr>
            <a:lvl5pPr marL="2286000" lvl="4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5pPr>
            <a:lvl6pPr marL="2743200" lvl="5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6pPr>
            <a:lvl7pPr marL="3200400" lvl="6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7pPr>
            <a:lvl8pPr marL="3657600" lvl="7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8pPr>
            <a:lvl9pPr marL="4114800" lvl="8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9pPr>
          </a:lstStyle>
          <a:p>
            <a:endParaRPr/>
          </a:p>
        </p:txBody>
      </p:sp>
      <p:sp>
        <p:nvSpPr>
          <p:cNvPr id="58" name="Google Shape;58;p8"/>
          <p:cNvSpPr txBox="1">
            <a:spLocks noGrp="1"/>
          </p:cNvSpPr>
          <p:nvPr>
            <p:ph type="body" idx="9"/>
          </p:nvPr>
        </p:nvSpPr>
        <p:spPr>
          <a:xfrm>
            <a:off x="3123849" y="2894647"/>
            <a:ext cx="574800" cy="2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457200" lvl="0" indent="-228600" algn="r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54BC"/>
              </a:buClr>
              <a:buSzPts val="1400"/>
              <a:buNone/>
              <a:defRPr sz="1000" b="1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914400" lvl="1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Char char="•"/>
              <a:defRPr>
                <a:solidFill>
                  <a:srgbClr val="0054BC"/>
                </a:solidFill>
              </a:defRPr>
            </a:lvl2pPr>
            <a:lvl3pPr marL="1371600" lvl="2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Char char="•"/>
              <a:defRPr>
                <a:solidFill>
                  <a:srgbClr val="0054BC"/>
                </a:solidFill>
              </a:defRPr>
            </a:lvl3pPr>
            <a:lvl4pPr marL="1828800" lvl="3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Char char="•"/>
              <a:defRPr>
                <a:solidFill>
                  <a:srgbClr val="0054BC"/>
                </a:solidFill>
              </a:defRPr>
            </a:lvl4pPr>
            <a:lvl5pPr marL="2286000" lvl="4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Char char="•"/>
              <a:defRPr>
                <a:solidFill>
                  <a:srgbClr val="0054BC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Char char="•"/>
              <a:defRPr>
                <a:solidFill>
                  <a:srgbClr val="0054BC"/>
                </a:solidFill>
              </a:defRPr>
            </a:lvl6pPr>
            <a:lvl7pPr marL="320040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Char char="•"/>
              <a:defRPr>
                <a:solidFill>
                  <a:srgbClr val="0054BC"/>
                </a:solidFill>
              </a:defRPr>
            </a:lvl7pPr>
            <a:lvl8pPr marL="365760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Char char="•"/>
              <a:defRPr>
                <a:solidFill>
                  <a:srgbClr val="0054BC"/>
                </a:solidFill>
              </a:defRPr>
            </a:lvl8pPr>
            <a:lvl9pPr marL="411480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Char char="•"/>
              <a:defRPr>
                <a:solidFill>
                  <a:srgbClr val="0054BC"/>
                </a:solidFill>
              </a:defRPr>
            </a:lvl9pPr>
          </a:lstStyle>
          <a:p>
            <a:endParaRPr/>
          </a:p>
        </p:txBody>
      </p:sp>
      <p:sp>
        <p:nvSpPr>
          <p:cNvPr id="59" name="Google Shape;59;p8"/>
          <p:cNvSpPr txBox="1">
            <a:spLocks noGrp="1"/>
          </p:cNvSpPr>
          <p:nvPr>
            <p:ph type="body" idx="13"/>
          </p:nvPr>
        </p:nvSpPr>
        <p:spPr>
          <a:xfrm>
            <a:off x="6365937" y="1445373"/>
            <a:ext cx="1883400" cy="44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457200" lvl="0" indent="-2286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54BC"/>
              </a:buClr>
              <a:buSzPts val="1000"/>
              <a:buNone/>
              <a:defRPr sz="1000">
                <a:solidFill>
                  <a:srgbClr val="0054BC"/>
                </a:solidFill>
              </a:defRPr>
            </a:lvl1pPr>
            <a:lvl2pPr marL="914400" lvl="1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2pPr>
            <a:lvl3pPr marL="1371600" lvl="2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3pPr>
            <a:lvl4pPr marL="1828800" lvl="3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4pPr>
            <a:lvl5pPr marL="2286000" lvl="4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5pPr>
            <a:lvl6pPr marL="2743200" lvl="5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6pPr>
            <a:lvl7pPr marL="3200400" lvl="6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7pPr>
            <a:lvl8pPr marL="3657600" lvl="7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8pPr>
            <a:lvl9pPr marL="4114800" lvl="8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9pPr>
          </a:lstStyle>
          <a:p>
            <a:endParaRPr/>
          </a:p>
        </p:txBody>
      </p:sp>
      <p:sp>
        <p:nvSpPr>
          <p:cNvPr id="60" name="Google Shape;60;p8"/>
          <p:cNvSpPr txBox="1">
            <a:spLocks noGrp="1"/>
          </p:cNvSpPr>
          <p:nvPr>
            <p:ph type="body" idx="14"/>
          </p:nvPr>
        </p:nvSpPr>
        <p:spPr>
          <a:xfrm>
            <a:off x="6366376" y="2332801"/>
            <a:ext cx="1883400" cy="44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457200" lvl="0" indent="-2286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54BC"/>
              </a:buClr>
              <a:buSzPts val="1000"/>
              <a:buNone/>
              <a:defRPr sz="1000">
                <a:solidFill>
                  <a:srgbClr val="0054BC"/>
                </a:solidFill>
              </a:defRPr>
            </a:lvl1pPr>
            <a:lvl2pPr marL="914400" lvl="1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2pPr>
            <a:lvl3pPr marL="1371600" lvl="2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3pPr>
            <a:lvl4pPr marL="1828800" lvl="3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4pPr>
            <a:lvl5pPr marL="2286000" lvl="4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5pPr>
            <a:lvl6pPr marL="2743200" lvl="5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6pPr>
            <a:lvl7pPr marL="3200400" lvl="6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7pPr>
            <a:lvl8pPr marL="3657600" lvl="7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8pPr>
            <a:lvl9pPr marL="4114800" lvl="8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9pPr>
          </a:lstStyle>
          <a:p>
            <a:endParaRPr/>
          </a:p>
        </p:txBody>
      </p:sp>
      <p:sp>
        <p:nvSpPr>
          <p:cNvPr id="61" name="Google Shape;61;p8"/>
          <p:cNvSpPr txBox="1">
            <a:spLocks noGrp="1"/>
          </p:cNvSpPr>
          <p:nvPr>
            <p:ph type="body" idx="15"/>
          </p:nvPr>
        </p:nvSpPr>
        <p:spPr>
          <a:xfrm>
            <a:off x="6365489" y="2814028"/>
            <a:ext cx="1883400" cy="44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457200" lvl="0" indent="-2286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54BC"/>
              </a:buClr>
              <a:buSzPts val="1000"/>
              <a:buNone/>
              <a:defRPr sz="1000">
                <a:solidFill>
                  <a:srgbClr val="0054BC"/>
                </a:solidFill>
              </a:defRPr>
            </a:lvl1pPr>
            <a:lvl2pPr marL="914400" lvl="1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2pPr>
            <a:lvl3pPr marL="1371600" lvl="2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3pPr>
            <a:lvl4pPr marL="1828800" lvl="3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4pPr>
            <a:lvl5pPr marL="2286000" lvl="4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5pPr>
            <a:lvl6pPr marL="2743200" lvl="5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6pPr>
            <a:lvl7pPr marL="3200400" lvl="6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7pPr>
            <a:lvl8pPr marL="3657600" lvl="7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8pPr>
            <a:lvl9pPr marL="4114800" lvl="8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9pPr>
          </a:lstStyle>
          <a:p>
            <a:endParaRPr/>
          </a:p>
        </p:txBody>
      </p:sp>
      <p:sp>
        <p:nvSpPr>
          <p:cNvPr id="62" name="Google Shape;62;p8"/>
          <p:cNvSpPr txBox="1">
            <a:spLocks noGrp="1"/>
          </p:cNvSpPr>
          <p:nvPr>
            <p:ph type="body" idx="16"/>
          </p:nvPr>
        </p:nvSpPr>
        <p:spPr>
          <a:xfrm>
            <a:off x="5720774" y="1512053"/>
            <a:ext cx="574800" cy="2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457200" lvl="0" indent="-228600" algn="r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54BC"/>
              </a:buClr>
              <a:buSzPts val="1000"/>
              <a:buNone/>
              <a:defRPr sz="1000" b="1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914400" lvl="1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2pPr>
            <a:lvl3pPr marL="1371600" lvl="2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3pPr>
            <a:lvl4pPr marL="1828800" lvl="3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4pPr>
            <a:lvl5pPr marL="2286000" lvl="4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5pPr>
            <a:lvl6pPr marL="2743200" lvl="5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6pPr>
            <a:lvl7pPr marL="3200400" lvl="6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7pPr>
            <a:lvl8pPr marL="3657600" lvl="7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8pPr>
            <a:lvl9pPr marL="4114800" lvl="8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9pPr>
          </a:lstStyle>
          <a:p>
            <a:endParaRPr/>
          </a:p>
        </p:txBody>
      </p:sp>
      <p:sp>
        <p:nvSpPr>
          <p:cNvPr id="63" name="Google Shape;63;p8"/>
          <p:cNvSpPr txBox="1">
            <a:spLocks noGrp="1"/>
          </p:cNvSpPr>
          <p:nvPr>
            <p:ph type="body" idx="17"/>
          </p:nvPr>
        </p:nvSpPr>
        <p:spPr>
          <a:xfrm>
            <a:off x="5720773" y="1981718"/>
            <a:ext cx="574800" cy="2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457200" lvl="0" indent="-228600" algn="r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54BC"/>
              </a:buClr>
              <a:buSzPts val="1000"/>
              <a:buNone/>
              <a:defRPr sz="1000" b="1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914400" lvl="1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2pPr>
            <a:lvl3pPr marL="1371600" lvl="2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3pPr>
            <a:lvl4pPr marL="1828800" lvl="3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4pPr>
            <a:lvl5pPr marL="2286000" lvl="4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5pPr>
            <a:lvl6pPr marL="2743200" lvl="5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6pPr>
            <a:lvl7pPr marL="3200400" lvl="6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7pPr>
            <a:lvl8pPr marL="3657600" lvl="7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8pPr>
            <a:lvl9pPr marL="4114800" lvl="8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9pPr>
          </a:lstStyle>
          <a:p>
            <a:endParaRPr/>
          </a:p>
        </p:txBody>
      </p:sp>
      <p:sp>
        <p:nvSpPr>
          <p:cNvPr id="64" name="Google Shape;64;p8"/>
          <p:cNvSpPr txBox="1">
            <a:spLocks noGrp="1"/>
          </p:cNvSpPr>
          <p:nvPr>
            <p:ph type="body" idx="18"/>
          </p:nvPr>
        </p:nvSpPr>
        <p:spPr>
          <a:xfrm>
            <a:off x="5721500" y="2417043"/>
            <a:ext cx="574800" cy="2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457200" lvl="0" indent="-228600" algn="r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54BC"/>
              </a:buClr>
              <a:buSzPts val="1000"/>
              <a:buNone/>
              <a:defRPr sz="1000" b="1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914400" lvl="1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2pPr>
            <a:lvl3pPr marL="1371600" lvl="2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3pPr>
            <a:lvl4pPr marL="1828800" lvl="3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4pPr>
            <a:lvl5pPr marL="2286000" lvl="4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5pPr>
            <a:lvl6pPr marL="2743200" lvl="5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6pPr>
            <a:lvl7pPr marL="3200400" lvl="6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7pPr>
            <a:lvl8pPr marL="3657600" lvl="7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8pPr>
            <a:lvl9pPr marL="4114800" lvl="8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9pPr>
          </a:lstStyle>
          <a:p>
            <a:endParaRPr/>
          </a:p>
        </p:txBody>
      </p:sp>
      <p:sp>
        <p:nvSpPr>
          <p:cNvPr id="65" name="Google Shape;65;p8"/>
          <p:cNvSpPr txBox="1">
            <a:spLocks noGrp="1"/>
          </p:cNvSpPr>
          <p:nvPr>
            <p:ph type="body" idx="19"/>
          </p:nvPr>
        </p:nvSpPr>
        <p:spPr>
          <a:xfrm>
            <a:off x="5721500" y="2899489"/>
            <a:ext cx="574800" cy="2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457200" lvl="0" indent="-228600" algn="r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54BC"/>
              </a:buClr>
              <a:buSzPts val="1000"/>
              <a:buNone/>
              <a:defRPr sz="1000" b="1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914400" lvl="1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2pPr>
            <a:lvl3pPr marL="1371600" lvl="2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3pPr>
            <a:lvl4pPr marL="1828800" lvl="3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4pPr>
            <a:lvl5pPr marL="2286000" lvl="4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5pPr>
            <a:lvl6pPr marL="2743200" lvl="5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6pPr>
            <a:lvl7pPr marL="3200400" lvl="6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7pPr>
            <a:lvl8pPr marL="3657600" lvl="7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8pPr>
            <a:lvl9pPr marL="4114800" lvl="8" indent="-2921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000">
                <a:solidFill>
                  <a:srgbClr val="0054BC"/>
                </a:solidFill>
              </a:defRPr>
            </a:lvl9pPr>
          </a:lstStyle>
          <a:p>
            <a:endParaRPr/>
          </a:p>
        </p:txBody>
      </p:sp>
      <p:pic>
        <p:nvPicPr>
          <p:cNvPr id="25" name="Imagen 24">
            <a:extLst>
              <a:ext uri="{FF2B5EF4-FFF2-40B4-BE49-F238E27FC236}">
                <a16:creationId xmlns:a16="http://schemas.microsoft.com/office/drawing/2014/main" id="{2FAB7457-61BC-0144-984D-ACFC03D1DF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3618" y="287254"/>
            <a:ext cx="1118402" cy="319096"/>
          </a:xfrm>
          <a:prstGeom prst="rect">
            <a:avLst/>
          </a:prstGeom>
        </p:spPr>
      </p:pic>
      <p:pic>
        <p:nvPicPr>
          <p:cNvPr id="22" name="Imagen 21">
            <a:extLst>
              <a:ext uri="{FF2B5EF4-FFF2-40B4-BE49-F238E27FC236}">
                <a16:creationId xmlns:a16="http://schemas.microsoft.com/office/drawing/2014/main" id="{06C4BAFA-CF82-7743-AB31-DAA7A61A69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3789" y="4523448"/>
            <a:ext cx="1870211" cy="35066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cabezado de sección" type="secHead">
  <p:cSld name="Encabezado de sección">
    <p:bg>
      <p:bgPr>
        <a:solidFill>
          <a:srgbClr val="DCEBFB"/>
        </a:solidFill>
        <a:effectLst/>
      </p:bgPr>
    </p:bg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7"/>
          <p:cNvSpPr txBox="1">
            <a:spLocks noGrp="1"/>
          </p:cNvSpPr>
          <p:nvPr>
            <p:ph type="body" idx="1"/>
          </p:nvPr>
        </p:nvSpPr>
        <p:spPr>
          <a:xfrm>
            <a:off x="1497026" y="995328"/>
            <a:ext cx="1853423" cy="953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457200" lvl="0" indent="-228600" algn="r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1100"/>
              <a:buFont typeface="Work Sans Light"/>
              <a:buNone/>
              <a:defRPr sz="7200" b="1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914400" lvl="1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100"/>
              <a:buFont typeface="Work Sans Light"/>
              <a:buChar char="•"/>
              <a:defRPr sz="1100">
                <a:latin typeface="Work Sans Light"/>
                <a:ea typeface="Work Sans Light"/>
                <a:cs typeface="Work Sans Light"/>
                <a:sym typeface="Work Sans Light"/>
              </a:defRPr>
            </a:lvl2pPr>
            <a:lvl3pPr marL="1371600" lvl="2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100"/>
              <a:buFont typeface="Work Sans Light"/>
              <a:buChar char="•"/>
              <a:defRPr sz="1100">
                <a:latin typeface="Work Sans Light"/>
                <a:ea typeface="Work Sans Light"/>
                <a:cs typeface="Work Sans Light"/>
                <a:sym typeface="Work Sans Light"/>
              </a:defRPr>
            </a:lvl3pPr>
            <a:lvl4pPr marL="1828800" lvl="3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100"/>
              <a:buFont typeface="Work Sans Light"/>
              <a:buChar char="•"/>
              <a:defRPr sz="1100">
                <a:latin typeface="Work Sans Light"/>
                <a:ea typeface="Work Sans Light"/>
                <a:cs typeface="Work Sans Light"/>
                <a:sym typeface="Work Sans Light"/>
              </a:defRPr>
            </a:lvl4pPr>
            <a:lvl5pPr marL="2286000" lvl="4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100"/>
              <a:buFont typeface="Work Sans Light"/>
              <a:buChar char="•"/>
              <a:defRPr sz="1100">
                <a:latin typeface="Work Sans Light"/>
                <a:ea typeface="Work Sans Light"/>
                <a:cs typeface="Work Sans Light"/>
                <a:sym typeface="Work Sans Light"/>
              </a:defRPr>
            </a:lvl5pPr>
            <a:lvl6pPr marL="2743200" lvl="5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100"/>
              <a:buFont typeface="Work Sans Light"/>
              <a:buChar char="•"/>
              <a:defRPr sz="1100">
                <a:latin typeface="Work Sans Light"/>
                <a:ea typeface="Work Sans Light"/>
                <a:cs typeface="Work Sans Light"/>
                <a:sym typeface="Work Sans Light"/>
              </a:defRPr>
            </a:lvl6pPr>
            <a:lvl7pPr marL="3200400" lvl="6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100"/>
              <a:buFont typeface="Work Sans Light"/>
              <a:buChar char="•"/>
              <a:defRPr sz="1100">
                <a:latin typeface="Work Sans Light"/>
                <a:ea typeface="Work Sans Light"/>
                <a:cs typeface="Work Sans Light"/>
                <a:sym typeface="Work Sans Light"/>
              </a:defRPr>
            </a:lvl7pPr>
            <a:lvl8pPr marL="3657600" lvl="7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100"/>
              <a:buFont typeface="Work Sans Light"/>
              <a:buChar char="•"/>
              <a:defRPr sz="1100">
                <a:latin typeface="Work Sans Light"/>
                <a:ea typeface="Work Sans Light"/>
                <a:cs typeface="Work Sans Light"/>
                <a:sym typeface="Work Sans Light"/>
              </a:defRPr>
            </a:lvl8pPr>
            <a:lvl9pPr marL="4114800" lvl="8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100"/>
              <a:buFont typeface="Work Sans Light"/>
              <a:buChar char="•"/>
              <a:defRPr sz="1100">
                <a:latin typeface="Work Sans Light"/>
                <a:ea typeface="Work Sans Light"/>
                <a:cs typeface="Work Sans Light"/>
                <a:sym typeface="Work Sans Light"/>
              </a:defRPr>
            </a:lvl9pPr>
          </a:lstStyle>
          <a:p>
            <a:endParaRPr dirty="0"/>
          </a:p>
        </p:txBody>
      </p:sp>
      <p:sp>
        <p:nvSpPr>
          <p:cNvPr id="42" name="Google Shape;42;p7"/>
          <p:cNvSpPr txBox="1">
            <a:spLocks noGrp="1"/>
          </p:cNvSpPr>
          <p:nvPr>
            <p:ph type="title" hasCustomPrompt="1"/>
          </p:nvPr>
        </p:nvSpPr>
        <p:spPr>
          <a:xfrm>
            <a:off x="3768725" y="1714364"/>
            <a:ext cx="4752600" cy="64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Work Sans SemiBold"/>
              <a:buNone/>
              <a:defRPr sz="3000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9pPr>
          </a:lstStyle>
          <a:p>
            <a:r>
              <a:rPr lang="es-ES" dirty="0"/>
              <a:t> </a:t>
            </a:r>
            <a:endParaRPr dirty="0"/>
          </a:p>
        </p:txBody>
      </p:sp>
      <p:sp>
        <p:nvSpPr>
          <p:cNvPr id="43" name="Google Shape;43;p7"/>
          <p:cNvSpPr txBox="1">
            <a:spLocks noGrp="1"/>
          </p:cNvSpPr>
          <p:nvPr>
            <p:ph type="body" idx="2"/>
          </p:nvPr>
        </p:nvSpPr>
        <p:spPr>
          <a:xfrm>
            <a:off x="3761125" y="2526597"/>
            <a:ext cx="4752600" cy="13364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457200" lvl="0" indent="-2286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Work Sans Light"/>
              <a:buNone/>
              <a:defRPr sz="1500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914400" lvl="1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2pPr>
            <a:lvl3pPr marL="1371600" lvl="2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3pPr>
            <a:lvl4pPr marL="1828800" lvl="3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4pPr>
            <a:lvl5pPr marL="2286000" lvl="4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5pPr>
            <a:lvl6pPr marL="2743200" lvl="5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6pPr>
            <a:lvl7pPr marL="3200400" lvl="6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7pPr>
            <a:lvl8pPr marL="3657600" lvl="7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8pPr>
            <a:lvl9pPr marL="4114800" lvl="8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9pPr>
          </a:lstStyle>
          <a:p>
            <a:endParaRPr/>
          </a:p>
        </p:txBody>
      </p:sp>
      <p:sp>
        <p:nvSpPr>
          <p:cNvPr id="45" name="Google Shape;45;p7"/>
          <p:cNvSpPr txBox="1"/>
          <p:nvPr/>
        </p:nvSpPr>
        <p:spPr>
          <a:xfrm>
            <a:off x="8332725" y="6238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s-CO" sz="7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rPr>
              <a:t>‹Nº›</a:t>
            </a:fld>
            <a:endParaRPr sz="700" b="0" i="0" u="none" strike="noStrike" cap="none" dirty="0">
              <a:solidFill>
                <a:srgbClr val="0054BC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2FAB7457-61BC-0144-984D-ACFC03D1DF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3618" y="287254"/>
            <a:ext cx="1118402" cy="319096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06C4BAFA-CF82-7743-AB31-DAA7A61A69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3789" y="4523448"/>
            <a:ext cx="1870211" cy="350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35005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s-ES"/>
              <a:t>Haga clic para modificar el estilo de subtítulo del patrón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0207A6-A2D6-4001-A36B-166ED9916B9E}" type="datetimeFigureOut">
              <a:rPr lang="es-CO" smtClean="0"/>
              <a:t>2021/03/29</a:t>
            </a:fld>
            <a:endParaRPr lang="es-CO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5FC820-65D4-483B-90B5-037BBE77B7B2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4925526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 blanco" type="blank">
  <p:cSld name="En blanco">
    <p:bg>
      <p:bgPr>
        <a:solidFill>
          <a:srgbClr val="DCEAFB"/>
        </a:solidFill>
        <a:effectLst/>
      </p:bgPr>
    </p:bg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Google Shape;95;p14"/>
          <p:cNvSpPr txBox="1"/>
          <p:nvPr/>
        </p:nvSpPr>
        <p:spPr>
          <a:xfrm>
            <a:off x="8299683" y="0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s-CO" sz="700" b="0" i="0" u="none" strike="noStrike" cap="none">
                <a:solidFill>
                  <a:srgbClr val="0066CD"/>
                </a:solidFill>
                <a:latin typeface="Work Sans"/>
                <a:ea typeface="Work Sans"/>
                <a:cs typeface="Work Sans"/>
                <a:sym typeface="Work Sans"/>
              </a:rPr>
              <a:t>‹Nº›</a:t>
            </a:fld>
            <a:endParaRPr sz="700" b="0" i="0" u="none" strike="noStrike" cap="none" dirty="0">
              <a:solidFill>
                <a:srgbClr val="0066CD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2FAB7457-61BC-0144-984D-ACFC03D1DF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3618" y="287254"/>
            <a:ext cx="1118402" cy="319096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06C4BAFA-CF82-7743-AB31-DAA7A61A69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3789" y="4523448"/>
            <a:ext cx="1870211" cy="350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24309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54BC"/>
              </a:buClr>
              <a:buSzPts val="3300"/>
              <a:buFont typeface="Work Sans"/>
              <a:buNone/>
              <a:defRPr sz="33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457200" marR="0" lvl="0" indent="-36195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54BC"/>
              </a:buClr>
              <a:buSzPts val="2100"/>
              <a:buFont typeface="Arial"/>
              <a:buChar char="•"/>
              <a:defRPr sz="21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9pPr>
          </a:lstStyle>
          <a:p>
            <a:endParaRPr/>
          </a:p>
        </p:txBody>
      </p:sp>
      <p:sp>
        <p:nvSpPr>
          <p:cNvPr id="9" name="Google Shape;9;p1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9pPr>
          </a:lstStyle>
          <a:p>
            <a:endParaRPr/>
          </a:p>
        </p:txBody>
      </p:sp>
      <p:sp>
        <p:nvSpPr>
          <p:cNvPr id="10" name="Google Shape;10;p1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CO"/>
              <a:t>‹Nº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63" r:id="rId1"/>
    <p:sldLayoutId id="2147483654" r:id="rId2"/>
    <p:sldLayoutId id="2147483664" r:id="rId3"/>
    <p:sldLayoutId id="2147483665" r:id="rId4"/>
    <p:sldLayoutId id="2147483666" r:id="rId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E07B4555-0B10-40B1-A5AE-DB8EF323C2F6}"/>
              </a:ext>
            </a:extLst>
          </p:cNvPr>
          <p:cNvSpPr txBox="1"/>
          <p:nvPr/>
        </p:nvSpPr>
        <p:spPr>
          <a:xfrm>
            <a:off x="7140411" y="2604485"/>
            <a:ext cx="18469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5250" algn="r">
              <a:lnSpc>
                <a:spcPct val="90000"/>
              </a:lnSpc>
              <a:spcBef>
                <a:spcPts val="800"/>
              </a:spcBef>
              <a:buClr>
                <a:srgbClr val="0054BC"/>
              </a:buClr>
              <a:buSzPts val="2100"/>
            </a:pPr>
            <a:r>
              <a:rPr lang="es-CO" sz="2000" dirty="0">
                <a:solidFill>
                  <a:srgbClr val="0054BC"/>
                </a:solidFill>
                <a:latin typeface="Calibri" panose="020F0502020204030204" pitchFamily="34" charset="0"/>
                <a:cs typeface="Calibri" panose="020F0502020204030204" pitchFamily="34" charset="0"/>
                <a:sym typeface="Work Sans"/>
              </a:rPr>
              <a:t>Marzo de 2021</a:t>
            </a:r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4691E1AB-F0D5-41DF-9F54-71F616CD4921}"/>
              </a:ext>
            </a:extLst>
          </p:cNvPr>
          <p:cNvSpPr txBox="1">
            <a:spLocks/>
          </p:cNvSpPr>
          <p:nvPr/>
        </p:nvSpPr>
        <p:spPr>
          <a:xfrm>
            <a:off x="4231758" y="1827952"/>
            <a:ext cx="4755633" cy="74892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/>
            <a:r>
              <a:rPr lang="es-EC" sz="3200" dirty="0">
                <a:solidFill>
                  <a:srgbClr val="0054B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YECTO DE IP - ALO SUR</a:t>
            </a:r>
            <a:endParaRPr lang="es-CO" sz="3200" dirty="0">
              <a:solidFill>
                <a:srgbClr val="0054B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78657"/>
            <a:ext cx="9144000" cy="4449348"/>
          </a:xfrm>
          <a:prstGeom prst="rect">
            <a:avLst/>
          </a:prstGeom>
        </p:spPr>
      </p:pic>
      <p:sp>
        <p:nvSpPr>
          <p:cNvPr id="134" name="AutoShape 131"/>
          <p:cNvSpPr>
            <a:spLocks noChangeAspect="1" noChangeArrowheads="1" noTextEdit="1"/>
          </p:cNvSpPr>
          <p:nvPr/>
        </p:nvSpPr>
        <p:spPr bwMode="auto">
          <a:xfrm>
            <a:off x="0" y="0"/>
            <a:ext cx="9144000" cy="5148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s-CO" sz="1050"/>
          </a:p>
        </p:txBody>
      </p:sp>
      <p:pic>
        <p:nvPicPr>
          <p:cNvPr id="68" name="Imagen 67"/>
          <p:cNvPicPr>
            <a:picLocks noChangeAspect="1"/>
          </p:cNvPicPr>
          <p:nvPr/>
        </p:nvPicPr>
        <p:blipFill rotWithShape="1">
          <a:blip r:embed="rId3"/>
          <a:srcRect t="2647" r="23038" b="85943"/>
          <a:stretch/>
        </p:blipFill>
        <p:spPr>
          <a:xfrm>
            <a:off x="0" y="79805"/>
            <a:ext cx="6746032" cy="586946"/>
          </a:xfrm>
          <a:prstGeom prst="rect">
            <a:avLst/>
          </a:prstGeom>
        </p:spPr>
      </p:pic>
      <p:sp>
        <p:nvSpPr>
          <p:cNvPr id="69" name="3 Rectángulo"/>
          <p:cNvSpPr/>
          <p:nvPr/>
        </p:nvSpPr>
        <p:spPr bwMode="auto">
          <a:xfrm>
            <a:off x="83772" y="181483"/>
            <a:ext cx="6480303" cy="3849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61220" tIns="30611" rIns="61220" bIns="30611">
            <a:spAutoFit/>
          </a:bodyPr>
          <a:lstStyle/>
          <a:p>
            <a:pPr fontAlgn="ctr">
              <a:defRPr/>
            </a:pPr>
            <a:r>
              <a:rPr lang="es-ES" sz="2100" b="1" dirty="0">
                <a:solidFill>
                  <a:schemeClr val="bg1"/>
                </a:solidFill>
                <a:latin typeface="Gotham Rounded Medium" panose="02000000000000000000" pitchFamily="50" charset="0"/>
              </a:rPr>
              <a:t>I. Alcance – Intersección Canoas</a:t>
            </a:r>
          </a:p>
        </p:txBody>
      </p:sp>
      <p:pic>
        <p:nvPicPr>
          <p:cNvPr id="84" name="Imagen 83"/>
          <p:cNvPicPr>
            <a:picLocks noChangeAspect="1"/>
          </p:cNvPicPr>
          <p:nvPr/>
        </p:nvPicPr>
        <p:blipFill rotWithShape="1">
          <a:blip r:embed="rId3"/>
          <a:srcRect t="2647" r="23038" b="85943"/>
          <a:stretch/>
        </p:blipFill>
        <p:spPr>
          <a:xfrm>
            <a:off x="33570" y="4555428"/>
            <a:ext cx="3829451" cy="591276"/>
          </a:xfrm>
          <a:prstGeom prst="rect">
            <a:avLst/>
          </a:prstGeom>
        </p:spPr>
      </p:pic>
      <p:sp>
        <p:nvSpPr>
          <p:cNvPr id="85" name="3 Rectángulo"/>
          <p:cNvSpPr/>
          <p:nvPr/>
        </p:nvSpPr>
        <p:spPr bwMode="auto">
          <a:xfrm>
            <a:off x="589061" y="4681321"/>
            <a:ext cx="3692291" cy="292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61220" tIns="30611" rIns="61220" bIns="30611">
            <a:spAutoFit/>
          </a:bodyPr>
          <a:lstStyle/>
          <a:p>
            <a:pPr fontAlgn="ctr">
              <a:defRPr/>
            </a:pPr>
            <a:r>
              <a:rPr lang="es-ES" sz="1500" b="1" dirty="0">
                <a:solidFill>
                  <a:schemeClr val="bg1"/>
                </a:solidFill>
                <a:latin typeface="Gotham Rounded Medium" panose="02000000000000000000" pitchFamily="50" charset="0"/>
              </a:rPr>
              <a:t>Sección Chusacá – Canoas. 4,5 Km</a:t>
            </a:r>
          </a:p>
        </p:txBody>
      </p:sp>
      <p:pic>
        <p:nvPicPr>
          <p:cNvPr id="76" name="Imagen 75"/>
          <p:cNvPicPr>
            <a:picLocks noChangeAspect="1"/>
          </p:cNvPicPr>
          <p:nvPr/>
        </p:nvPicPr>
        <p:blipFill rotWithShape="1">
          <a:blip r:embed="rId3"/>
          <a:srcRect t="2647" r="23038" b="85943"/>
          <a:stretch/>
        </p:blipFill>
        <p:spPr>
          <a:xfrm>
            <a:off x="5411465" y="1217781"/>
            <a:ext cx="1301742" cy="292652"/>
          </a:xfrm>
          <a:prstGeom prst="rect">
            <a:avLst/>
          </a:prstGeom>
        </p:spPr>
      </p:pic>
      <p:sp>
        <p:nvSpPr>
          <p:cNvPr id="77" name="3 Rectángulo"/>
          <p:cNvSpPr/>
          <p:nvPr/>
        </p:nvSpPr>
        <p:spPr bwMode="auto">
          <a:xfrm>
            <a:off x="5411465" y="1199082"/>
            <a:ext cx="1301742" cy="292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61220" tIns="30611" rIns="61220" bIns="30611">
            <a:spAutoFit/>
          </a:bodyPr>
          <a:lstStyle/>
          <a:p>
            <a:pPr algn="ctr" fontAlgn="ctr">
              <a:defRPr/>
            </a:pPr>
            <a:r>
              <a:rPr lang="es-ES" sz="1500" b="1" dirty="0">
                <a:solidFill>
                  <a:schemeClr val="bg1"/>
                </a:solidFill>
                <a:latin typeface="Gotham Rounded Medium" panose="02000000000000000000" pitchFamily="50" charset="0"/>
              </a:rPr>
              <a:t>A Girardot</a:t>
            </a:r>
          </a:p>
        </p:txBody>
      </p:sp>
      <p:pic>
        <p:nvPicPr>
          <p:cNvPr id="78" name="Imagen 77"/>
          <p:cNvPicPr>
            <a:picLocks noChangeAspect="1"/>
          </p:cNvPicPr>
          <p:nvPr/>
        </p:nvPicPr>
        <p:blipFill rotWithShape="1">
          <a:blip r:embed="rId3"/>
          <a:srcRect t="2647" r="23038" b="85943"/>
          <a:stretch/>
        </p:blipFill>
        <p:spPr>
          <a:xfrm>
            <a:off x="7025505" y="3698181"/>
            <a:ext cx="1301742" cy="292652"/>
          </a:xfrm>
          <a:prstGeom prst="rect">
            <a:avLst/>
          </a:prstGeom>
        </p:spPr>
      </p:pic>
      <p:sp>
        <p:nvSpPr>
          <p:cNvPr id="79" name="3 Rectángulo"/>
          <p:cNvSpPr/>
          <p:nvPr/>
        </p:nvSpPr>
        <p:spPr bwMode="auto">
          <a:xfrm>
            <a:off x="7025505" y="3679482"/>
            <a:ext cx="1301742" cy="292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61220" tIns="30611" rIns="61220" bIns="30611">
            <a:spAutoFit/>
          </a:bodyPr>
          <a:lstStyle/>
          <a:p>
            <a:pPr algn="ctr" fontAlgn="ctr">
              <a:defRPr/>
            </a:pPr>
            <a:r>
              <a:rPr lang="es-ES" sz="1500" b="1" dirty="0">
                <a:solidFill>
                  <a:schemeClr val="bg1"/>
                </a:solidFill>
                <a:latin typeface="Gotham Rounded Medium" panose="02000000000000000000" pitchFamily="50" charset="0"/>
              </a:rPr>
              <a:t>A la Mesa</a:t>
            </a:r>
          </a:p>
        </p:txBody>
      </p:sp>
      <p:pic>
        <p:nvPicPr>
          <p:cNvPr id="80" name="Imagen 79"/>
          <p:cNvPicPr>
            <a:picLocks noChangeAspect="1"/>
          </p:cNvPicPr>
          <p:nvPr/>
        </p:nvPicPr>
        <p:blipFill rotWithShape="1">
          <a:blip r:embed="rId3"/>
          <a:srcRect t="2647" r="23038" b="85943"/>
          <a:stretch/>
        </p:blipFill>
        <p:spPr>
          <a:xfrm>
            <a:off x="1948296" y="1209555"/>
            <a:ext cx="1301742" cy="292652"/>
          </a:xfrm>
          <a:prstGeom prst="rect">
            <a:avLst/>
          </a:prstGeom>
        </p:spPr>
      </p:pic>
      <p:sp>
        <p:nvSpPr>
          <p:cNvPr id="81" name="3 Rectángulo"/>
          <p:cNvSpPr/>
          <p:nvPr/>
        </p:nvSpPr>
        <p:spPr bwMode="auto">
          <a:xfrm>
            <a:off x="1948296" y="1184812"/>
            <a:ext cx="1301742" cy="292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61220" tIns="30611" rIns="61220" bIns="30611">
            <a:spAutoFit/>
          </a:bodyPr>
          <a:lstStyle/>
          <a:p>
            <a:pPr algn="ctr" fontAlgn="ctr">
              <a:defRPr/>
            </a:pPr>
            <a:r>
              <a:rPr lang="es-ES" sz="1500" b="1" dirty="0">
                <a:solidFill>
                  <a:schemeClr val="bg1"/>
                </a:solidFill>
                <a:latin typeface="Gotham Rounded Medium" panose="02000000000000000000" pitchFamily="50" charset="0"/>
              </a:rPr>
              <a:t>A Soacha</a:t>
            </a:r>
          </a:p>
        </p:txBody>
      </p:sp>
      <p:pic>
        <p:nvPicPr>
          <p:cNvPr id="82" name="Imagen 81"/>
          <p:cNvPicPr>
            <a:picLocks noChangeAspect="1"/>
          </p:cNvPicPr>
          <p:nvPr/>
        </p:nvPicPr>
        <p:blipFill rotWithShape="1">
          <a:blip r:embed="rId3"/>
          <a:srcRect t="2647" r="23038" b="85943"/>
          <a:stretch/>
        </p:blipFill>
        <p:spPr>
          <a:xfrm>
            <a:off x="1514107" y="3913846"/>
            <a:ext cx="1301742" cy="292652"/>
          </a:xfrm>
          <a:prstGeom prst="rect">
            <a:avLst/>
          </a:prstGeom>
        </p:spPr>
      </p:pic>
      <p:sp>
        <p:nvSpPr>
          <p:cNvPr id="86" name="3 Rectángulo"/>
          <p:cNvSpPr/>
          <p:nvPr/>
        </p:nvSpPr>
        <p:spPr bwMode="auto">
          <a:xfrm>
            <a:off x="1514107" y="3895147"/>
            <a:ext cx="1301742" cy="292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61220" tIns="30611" rIns="61220" bIns="30611">
            <a:spAutoFit/>
          </a:bodyPr>
          <a:lstStyle/>
          <a:p>
            <a:pPr algn="ctr" fontAlgn="ctr">
              <a:defRPr/>
            </a:pPr>
            <a:r>
              <a:rPr lang="es-ES" sz="1500" b="1" dirty="0">
                <a:solidFill>
                  <a:schemeClr val="bg1"/>
                </a:solidFill>
                <a:latin typeface="Gotham Rounded Medium" panose="02000000000000000000" pitchFamily="50" charset="0"/>
              </a:rPr>
              <a:t>A Bogotá</a:t>
            </a:r>
          </a:p>
        </p:txBody>
      </p:sp>
    </p:spTree>
    <p:extLst>
      <p:ext uri="{BB962C8B-B14F-4D97-AF65-F5344CB8AC3E}">
        <p14:creationId xmlns:p14="http://schemas.microsoft.com/office/powerpoint/2010/main" val="41913432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35719" y="641487"/>
            <a:ext cx="9179719" cy="4456863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34" name="AutoShape 131"/>
          <p:cNvSpPr>
            <a:spLocks noChangeAspect="1" noChangeArrowheads="1" noTextEdit="1"/>
          </p:cNvSpPr>
          <p:nvPr/>
        </p:nvSpPr>
        <p:spPr bwMode="auto">
          <a:xfrm>
            <a:off x="0" y="0"/>
            <a:ext cx="9144000" cy="5148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s-CO" sz="1050"/>
          </a:p>
        </p:txBody>
      </p:sp>
      <p:pic>
        <p:nvPicPr>
          <p:cNvPr id="68" name="Imagen 67"/>
          <p:cNvPicPr>
            <a:picLocks noChangeAspect="1"/>
          </p:cNvPicPr>
          <p:nvPr/>
        </p:nvPicPr>
        <p:blipFill rotWithShape="1">
          <a:blip r:embed="rId3"/>
          <a:srcRect t="2647" r="23038" b="85943"/>
          <a:stretch/>
        </p:blipFill>
        <p:spPr>
          <a:xfrm>
            <a:off x="0" y="79805"/>
            <a:ext cx="6746032" cy="586946"/>
          </a:xfrm>
          <a:prstGeom prst="rect">
            <a:avLst/>
          </a:prstGeom>
        </p:spPr>
      </p:pic>
      <p:sp>
        <p:nvSpPr>
          <p:cNvPr id="69" name="3 Rectángulo"/>
          <p:cNvSpPr/>
          <p:nvPr/>
        </p:nvSpPr>
        <p:spPr bwMode="auto">
          <a:xfrm>
            <a:off x="73381" y="178659"/>
            <a:ext cx="6480303" cy="3849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61220" tIns="30611" rIns="61220" bIns="30611">
            <a:spAutoFit/>
          </a:bodyPr>
          <a:lstStyle/>
          <a:p>
            <a:pPr fontAlgn="ctr">
              <a:defRPr/>
            </a:pPr>
            <a:r>
              <a:rPr lang="es-ES" sz="2100" b="1" dirty="0">
                <a:solidFill>
                  <a:schemeClr val="bg1"/>
                </a:solidFill>
                <a:latin typeface="Gotham Rounded Medium" panose="02000000000000000000" pitchFamily="50" charset="0"/>
              </a:rPr>
              <a:t>I. Alcance en Azul – Sección típica</a:t>
            </a:r>
          </a:p>
        </p:txBody>
      </p:sp>
      <p:pic>
        <p:nvPicPr>
          <p:cNvPr id="84" name="Imagen 83"/>
          <p:cNvPicPr>
            <a:picLocks noChangeAspect="1"/>
          </p:cNvPicPr>
          <p:nvPr/>
        </p:nvPicPr>
        <p:blipFill rotWithShape="1">
          <a:blip r:embed="rId3"/>
          <a:srcRect t="2647" r="23038" b="85943"/>
          <a:stretch/>
        </p:blipFill>
        <p:spPr>
          <a:xfrm>
            <a:off x="-47967" y="4559534"/>
            <a:ext cx="3117739" cy="591276"/>
          </a:xfrm>
          <a:prstGeom prst="rect">
            <a:avLst/>
          </a:prstGeom>
        </p:spPr>
      </p:pic>
      <p:sp>
        <p:nvSpPr>
          <p:cNvPr id="85" name="3 Rectángulo"/>
          <p:cNvSpPr/>
          <p:nvPr/>
        </p:nvSpPr>
        <p:spPr bwMode="auto">
          <a:xfrm>
            <a:off x="-39202" y="4584797"/>
            <a:ext cx="3065432" cy="523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61220" tIns="30611" rIns="61220" bIns="30611">
            <a:spAutoFit/>
          </a:bodyPr>
          <a:lstStyle/>
          <a:p>
            <a:pPr algn="ctr" fontAlgn="ctr">
              <a:defRPr/>
            </a:pPr>
            <a:r>
              <a:rPr lang="es-ES" sz="1500" b="1" dirty="0">
                <a:solidFill>
                  <a:schemeClr val="bg1"/>
                </a:solidFill>
                <a:latin typeface="Gotham Rounded Medium" panose="02000000000000000000" pitchFamily="50" charset="0"/>
              </a:rPr>
              <a:t>Sección típica del proyecto</a:t>
            </a:r>
          </a:p>
          <a:p>
            <a:pPr algn="ctr" fontAlgn="ctr">
              <a:defRPr/>
            </a:pPr>
            <a:r>
              <a:rPr lang="es-ES" sz="1500" b="1" dirty="0">
                <a:solidFill>
                  <a:schemeClr val="bg1"/>
                </a:solidFill>
                <a:latin typeface="Gotham Rounded Medium" panose="02000000000000000000" pitchFamily="50" charset="0"/>
              </a:rPr>
              <a:t>Río Bogotá –Calle 13</a:t>
            </a:r>
          </a:p>
        </p:txBody>
      </p:sp>
      <p:sp>
        <p:nvSpPr>
          <p:cNvPr id="15" name="Forma libre 14"/>
          <p:cNvSpPr/>
          <p:nvPr/>
        </p:nvSpPr>
        <p:spPr>
          <a:xfrm>
            <a:off x="254726" y="1165860"/>
            <a:ext cx="4045392" cy="3409406"/>
          </a:xfrm>
          <a:custGeom>
            <a:avLst/>
            <a:gdLst>
              <a:gd name="connsiteX0" fmla="*/ 0 w 5316583"/>
              <a:gd name="connsiteY0" fmla="*/ 4532811 h 4545874"/>
              <a:gd name="connsiteX1" fmla="*/ 3670663 w 5316583"/>
              <a:gd name="connsiteY1" fmla="*/ 1371600 h 4545874"/>
              <a:gd name="connsiteX2" fmla="*/ 4598126 w 5316583"/>
              <a:gd name="connsiteY2" fmla="*/ 496389 h 4545874"/>
              <a:gd name="connsiteX3" fmla="*/ 5016137 w 5316583"/>
              <a:gd name="connsiteY3" fmla="*/ 143691 h 4545874"/>
              <a:gd name="connsiteX4" fmla="*/ 5120640 w 5316583"/>
              <a:gd name="connsiteY4" fmla="*/ 0 h 4545874"/>
              <a:gd name="connsiteX5" fmla="*/ 5316583 w 5316583"/>
              <a:gd name="connsiteY5" fmla="*/ 0 h 4545874"/>
              <a:gd name="connsiteX6" fmla="*/ 5081452 w 5316583"/>
              <a:gd name="connsiteY6" fmla="*/ 457200 h 4545874"/>
              <a:gd name="connsiteX7" fmla="*/ 2207623 w 5316583"/>
              <a:gd name="connsiteY7" fmla="*/ 4545874 h 4545874"/>
              <a:gd name="connsiteX8" fmla="*/ 0 w 5316583"/>
              <a:gd name="connsiteY8" fmla="*/ 4532811 h 4545874"/>
              <a:gd name="connsiteX0" fmla="*/ 0 w 5393856"/>
              <a:gd name="connsiteY0" fmla="*/ 4532811 h 4545874"/>
              <a:gd name="connsiteX1" fmla="*/ 3670663 w 5393856"/>
              <a:gd name="connsiteY1" fmla="*/ 1371600 h 4545874"/>
              <a:gd name="connsiteX2" fmla="*/ 4598126 w 5393856"/>
              <a:gd name="connsiteY2" fmla="*/ 496389 h 4545874"/>
              <a:gd name="connsiteX3" fmla="*/ 5016137 w 5393856"/>
              <a:gd name="connsiteY3" fmla="*/ 143691 h 4545874"/>
              <a:gd name="connsiteX4" fmla="*/ 5120640 w 5393856"/>
              <a:gd name="connsiteY4" fmla="*/ 0 h 4545874"/>
              <a:gd name="connsiteX5" fmla="*/ 5393856 w 5393856"/>
              <a:gd name="connsiteY5" fmla="*/ 25757 h 4545874"/>
              <a:gd name="connsiteX6" fmla="*/ 5081452 w 5393856"/>
              <a:gd name="connsiteY6" fmla="*/ 457200 h 4545874"/>
              <a:gd name="connsiteX7" fmla="*/ 2207623 w 5393856"/>
              <a:gd name="connsiteY7" fmla="*/ 4545874 h 4545874"/>
              <a:gd name="connsiteX8" fmla="*/ 0 w 5393856"/>
              <a:gd name="connsiteY8" fmla="*/ 4532811 h 4545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393856" h="4545874">
                <a:moveTo>
                  <a:pt x="0" y="4532811"/>
                </a:moveTo>
                <a:lnTo>
                  <a:pt x="3670663" y="1371600"/>
                </a:lnTo>
                <a:lnTo>
                  <a:pt x="4598126" y="496389"/>
                </a:lnTo>
                <a:lnTo>
                  <a:pt x="5016137" y="143691"/>
                </a:lnTo>
                <a:lnTo>
                  <a:pt x="5120640" y="0"/>
                </a:lnTo>
                <a:lnTo>
                  <a:pt x="5393856" y="25757"/>
                </a:lnTo>
                <a:lnTo>
                  <a:pt x="5081452" y="457200"/>
                </a:lnTo>
                <a:lnTo>
                  <a:pt x="2207623" y="4545874"/>
                </a:lnTo>
                <a:lnTo>
                  <a:pt x="0" y="4532811"/>
                </a:lnTo>
                <a:close/>
              </a:path>
            </a:pathLst>
          </a:custGeom>
          <a:solidFill>
            <a:schemeClr val="accent2">
              <a:lumMod val="75000"/>
              <a:alpha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050"/>
          </a:p>
        </p:txBody>
      </p:sp>
      <p:sp>
        <p:nvSpPr>
          <p:cNvPr id="16" name="Forma libre 15"/>
          <p:cNvSpPr/>
          <p:nvPr/>
        </p:nvSpPr>
        <p:spPr>
          <a:xfrm>
            <a:off x="4530437" y="1132609"/>
            <a:ext cx="2545772" cy="3990110"/>
          </a:xfrm>
          <a:custGeom>
            <a:avLst/>
            <a:gdLst>
              <a:gd name="connsiteX0" fmla="*/ 942109 w 3394363"/>
              <a:gd name="connsiteY0" fmla="*/ 5306291 h 5320146"/>
              <a:gd name="connsiteX1" fmla="*/ 110836 w 3394363"/>
              <a:gd name="connsiteY1" fmla="*/ 401782 h 5320146"/>
              <a:gd name="connsiteX2" fmla="*/ 110836 w 3394363"/>
              <a:gd name="connsiteY2" fmla="*/ 263237 h 5320146"/>
              <a:gd name="connsiteX3" fmla="*/ 55418 w 3394363"/>
              <a:gd name="connsiteY3" fmla="*/ 152400 h 5320146"/>
              <a:gd name="connsiteX4" fmla="*/ 0 w 3394363"/>
              <a:gd name="connsiteY4" fmla="*/ 55419 h 5320146"/>
              <a:gd name="connsiteX5" fmla="*/ 0 w 3394363"/>
              <a:gd name="connsiteY5" fmla="*/ 0 h 5320146"/>
              <a:gd name="connsiteX6" fmla="*/ 152400 w 3394363"/>
              <a:gd name="connsiteY6" fmla="*/ 55419 h 5320146"/>
              <a:gd name="connsiteX7" fmla="*/ 318654 w 3394363"/>
              <a:gd name="connsiteY7" fmla="*/ 221673 h 5320146"/>
              <a:gd name="connsiteX8" fmla="*/ 2507673 w 3394363"/>
              <a:gd name="connsiteY8" fmla="*/ 3879273 h 5320146"/>
              <a:gd name="connsiteX9" fmla="*/ 3394363 w 3394363"/>
              <a:gd name="connsiteY9" fmla="*/ 5320146 h 5320146"/>
              <a:gd name="connsiteX10" fmla="*/ 942109 w 3394363"/>
              <a:gd name="connsiteY10" fmla="*/ 5306291 h 5320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394363" h="5320146">
                <a:moveTo>
                  <a:pt x="942109" y="5306291"/>
                </a:moveTo>
                <a:lnTo>
                  <a:pt x="110836" y="401782"/>
                </a:lnTo>
                <a:lnTo>
                  <a:pt x="110836" y="263237"/>
                </a:lnTo>
                <a:lnTo>
                  <a:pt x="55418" y="152400"/>
                </a:lnTo>
                <a:lnTo>
                  <a:pt x="0" y="55419"/>
                </a:lnTo>
                <a:lnTo>
                  <a:pt x="0" y="0"/>
                </a:lnTo>
                <a:lnTo>
                  <a:pt x="152400" y="55419"/>
                </a:lnTo>
                <a:lnTo>
                  <a:pt x="318654" y="221673"/>
                </a:lnTo>
                <a:lnTo>
                  <a:pt x="2507673" y="3879273"/>
                </a:lnTo>
                <a:lnTo>
                  <a:pt x="3394363" y="5320146"/>
                </a:lnTo>
                <a:lnTo>
                  <a:pt x="942109" y="5306291"/>
                </a:lnTo>
                <a:close/>
              </a:path>
            </a:pathLst>
          </a:custGeom>
          <a:solidFill>
            <a:schemeClr val="accent2">
              <a:lumMod val="75000"/>
              <a:alpha val="26000"/>
            </a:schemeClr>
          </a:solidFill>
          <a:ln>
            <a:solidFill>
              <a:srgbClr val="EAF0F6">
                <a:alpha val="46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050"/>
          </a:p>
        </p:txBody>
      </p:sp>
      <p:sp>
        <p:nvSpPr>
          <p:cNvPr id="17" name="Forma libre 16"/>
          <p:cNvSpPr/>
          <p:nvPr/>
        </p:nvSpPr>
        <p:spPr>
          <a:xfrm>
            <a:off x="4638187" y="1143623"/>
            <a:ext cx="4499264" cy="3990110"/>
          </a:xfrm>
          <a:custGeom>
            <a:avLst/>
            <a:gdLst>
              <a:gd name="connsiteX0" fmla="*/ 5929746 w 5999019"/>
              <a:gd name="connsiteY0" fmla="*/ 5320146 h 5320146"/>
              <a:gd name="connsiteX1" fmla="*/ 1052946 w 5999019"/>
              <a:gd name="connsiteY1" fmla="*/ 775855 h 5320146"/>
              <a:gd name="connsiteX2" fmla="*/ 720437 w 5999019"/>
              <a:gd name="connsiteY2" fmla="*/ 512619 h 5320146"/>
              <a:gd name="connsiteX3" fmla="*/ 762000 w 5999019"/>
              <a:gd name="connsiteY3" fmla="*/ 401782 h 5320146"/>
              <a:gd name="connsiteX4" fmla="*/ 457200 w 5999019"/>
              <a:gd name="connsiteY4" fmla="*/ 166255 h 5320146"/>
              <a:gd name="connsiteX5" fmla="*/ 360219 w 5999019"/>
              <a:gd name="connsiteY5" fmla="*/ 152400 h 5320146"/>
              <a:gd name="connsiteX6" fmla="*/ 124691 w 5999019"/>
              <a:gd name="connsiteY6" fmla="*/ 69273 h 5320146"/>
              <a:gd name="connsiteX7" fmla="*/ 0 w 5999019"/>
              <a:gd name="connsiteY7" fmla="*/ 13855 h 5320146"/>
              <a:gd name="connsiteX8" fmla="*/ 69273 w 5999019"/>
              <a:gd name="connsiteY8" fmla="*/ 0 h 5320146"/>
              <a:gd name="connsiteX9" fmla="*/ 512619 w 5999019"/>
              <a:gd name="connsiteY9" fmla="*/ 69273 h 5320146"/>
              <a:gd name="connsiteX10" fmla="*/ 1122219 w 5999019"/>
              <a:gd name="connsiteY10" fmla="*/ 401782 h 5320146"/>
              <a:gd name="connsiteX11" fmla="*/ 3616037 w 5999019"/>
              <a:gd name="connsiteY11" fmla="*/ 1911928 h 5320146"/>
              <a:gd name="connsiteX12" fmla="*/ 5999019 w 5999019"/>
              <a:gd name="connsiteY12" fmla="*/ 3560619 h 5320146"/>
              <a:gd name="connsiteX13" fmla="*/ 5985164 w 5999019"/>
              <a:gd name="connsiteY13" fmla="*/ 5292437 h 5320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999019" h="5320146">
                <a:moveTo>
                  <a:pt x="5929746" y="5320146"/>
                </a:moveTo>
                <a:lnTo>
                  <a:pt x="1052946" y="775855"/>
                </a:lnTo>
                <a:lnTo>
                  <a:pt x="720437" y="512619"/>
                </a:lnTo>
                <a:lnTo>
                  <a:pt x="762000" y="401782"/>
                </a:lnTo>
                <a:lnTo>
                  <a:pt x="457200" y="166255"/>
                </a:lnTo>
                <a:lnTo>
                  <a:pt x="360219" y="152400"/>
                </a:lnTo>
                <a:lnTo>
                  <a:pt x="124691" y="69273"/>
                </a:lnTo>
                <a:lnTo>
                  <a:pt x="0" y="13855"/>
                </a:lnTo>
                <a:lnTo>
                  <a:pt x="69273" y="0"/>
                </a:lnTo>
                <a:lnTo>
                  <a:pt x="512619" y="69273"/>
                </a:lnTo>
                <a:lnTo>
                  <a:pt x="1122219" y="401782"/>
                </a:lnTo>
                <a:lnTo>
                  <a:pt x="3616037" y="1911928"/>
                </a:lnTo>
                <a:lnTo>
                  <a:pt x="5999019" y="3560619"/>
                </a:lnTo>
                <a:lnTo>
                  <a:pt x="5985164" y="5292437"/>
                </a:lnTo>
              </a:path>
            </a:pathLst>
          </a:custGeom>
          <a:solidFill>
            <a:schemeClr val="accent2">
              <a:lumMod val="75000"/>
              <a:alpha val="40000"/>
            </a:schemeClr>
          </a:solidFill>
          <a:ln>
            <a:solidFill>
              <a:schemeClr val="accent1">
                <a:shade val="50000"/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050"/>
          </a:p>
        </p:txBody>
      </p:sp>
      <p:sp>
        <p:nvSpPr>
          <p:cNvPr id="73" name="3 Rectángulo"/>
          <p:cNvSpPr/>
          <p:nvPr/>
        </p:nvSpPr>
        <p:spPr bwMode="auto">
          <a:xfrm>
            <a:off x="4072773" y="1733717"/>
            <a:ext cx="1054401" cy="292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61220" tIns="30611" rIns="61220" bIns="30611">
            <a:spAutoFit/>
          </a:bodyPr>
          <a:lstStyle/>
          <a:p>
            <a:pPr algn="ctr" fontAlgn="ctr">
              <a:defRPr/>
            </a:pPr>
            <a:r>
              <a:rPr lang="es-ES" sz="1500" b="1" dirty="0">
                <a:latin typeface="Gotham Rounded Medium" panose="02000000000000000000" pitchFamily="50" charset="0"/>
              </a:rPr>
              <a:t>100,0 m</a:t>
            </a:r>
          </a:p>
        </p:txBody>
      </p:sp>
      <p:cxnSp>
        <p:nvCxnSpPr>
          <p:cNvPr id="74" name="Conector recto de flecha 73"/>
          <p:cNvCxnSpPr/>
          <p:nvPr/>
        </p:nvCxnSpPr>
        <p:spPr>
          <a:xfrm flipV="1">
            <a:off x="2242457" y="2006774"/>
            <a:ext cx="4164875" cy="19595"/>
          </a:xfrm>
          <a:prstGeom prst="straightConnector1">
            <a:avLst/>
          </a:prstGeom>
          <a:ln w="254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95461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  <p:bldP spid="17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761584"/>
            <a:ext cx="9143999" cy="4381916"/>
          </a:xfrm>
          <a:prstGeom prst="rect">
            <a:avLst/>
          </a:prstGeom>
        </p:spPr>
      </p:pic>
      <p:sp>
        <p:nvSpPr>
          <p:cNvPr id="134" name="AutoShape 131"/>
          <p:cNvSpPr>
            <a:spLocks noChangeAspect="1" noChangeArrowheads="1" noTextEdit="1"/>
          </p:cNvSpPr>
          <p:nvPr/>
        </p:nvSpPr>
        <p:spPr bwMode="auto">
          <a:xfrm>
            <a:off x="0" y="0"/>
            <a:ext cx="9144000" cy="5148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s-CO" sz="1050"/>
          </a:p>
        </p:txBody>
      </p:sp>
      <p:pic>
        <p:nvPicPr>
          <p:cNvPr id="68" name="Imagen 67"/>
          <p:cNvPicPr>
            <a:picLocks noChangeAspect="1"/>
          </p:cNvPicPr>
          <p:nvPr/>
        </p:nvPicPr>
        <p:blipFill rotWithShape="1">
          <a:blip r:embed="rId3"/>
          <a:srcRect t="2647" r="23038" b="85943"/>
          <a:stretch/>
        </p:blipFill>
        <p:spPr>
          <a:xfrm>
            <a:off x="0" y="79805"/>
            <a:ext cx="6746032" cy="586946"/>
          </a:xfrm>
          <a:prstGeom prst="rect">
            <a:avLst/>
          </a:prstGeom>
        </p:spPr>
      </p:pic>
      <p:sp>
        <p:nvSpPr>
          <p:cNvPr id="69" name="3 Rectángulo"/>
          <p:cNvSpPr/>
          <p:nvPr/>
        </p:nvSpPr>
        <p:spPr bwMode="auto">
          <a:xfrm>
            <a:off x="75310" y="179968"/>
            <a:ext cx="6480303" cy="3849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61220" tIns="30611" rIns="61220" bIns="30611">
            <a:spAutoFit/>
          </a:bodyPr>
          <a:lstStyle/>
          <a:p>
            <a:pPr fontAlgn="ctr">
              <a:defRPr/>
            </a:pPr>
            <a:r>
              <a:rPr lang="es-ES" sz="2100" b="1" dirty="0">
                <a:solidFill>
                  <a:schemeClr val="bg1"/>
                </a:solidFill>
                <a:latin typeface="Gotham Rounded Medium" panose="02000000000000000000" pitchFamily="50" charset="0"/>
              </a:rPr>
              <a:t>I. Alcance – Sección en Cundinamarca</a:t>
            </a:r>
          </a:p>
        </p:txBody>
      </p:sp>
      <p:pic>
        <p:nvPicPr>
          <p:cNvPr id="84" name="Imagen 83"/>
          <p:cNvPicPr>
            <a:picLocks noChangeAspect="1"/>
          </p:cNvPicPr>
          <p:nvPr/>
        </p:nvPicPr>
        <p:blipFill rotWithShape="1">
          <a:blip r:embed="rId3"/>
          <a:srcRect t="2647" r="23038" b="85943"/>
          <a:stretch/>
        </p:blipFill>
        <p:spPr>
          <a:xfrm>
            <a:off x="13551" y="4552224"/>
            <a:ext cx="3841319" cy="591276"/>
          </a:xfrm>
          <a:prstGeom prst="rect">
            <a:avLst/>
          </a:prstGeom>
        </p:spPr>
      </p:pic>
      <p:sp>
        <p:nvSpPr>
          <p:cNvPr id="85" name="3 Rectángulo"/>
          <p:cNvSpPr/>
          <p:nvPr/>
        </p:nvSpPr>
        <p:spPr bwMode="auto">
          <a:xfrm>
            <a:off x="13551" y="4684909"/>
            <a:ext cx="4140117" cy="292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61220" tIns="30611" rIns="61220" bIns="30611">
            <a:spAutoFit/>
          </a:bodyPr>
          <a:lstStyle/>
          <a:p>
            <a:pPr fontAlgn="ctr">
              <a:defRPr/>
            </a:pPr>
            <a:r>
              <a:rPr lang="es-ES" sz="1500" b="1" dirty="0">
                <a:solidFill>
                  <a:schemeClr val="bg1"/>
                </a:solidFill>
                <a:latin typeface="Gotham Rounded Medium" panose="02000000000000000000" pitchFamily="50" charset="0"/>
              </a:rPr>
              <a:t>Sección Mosquera - Soacha – 9,5 Km</a:t>
            </a:r>
          </a:p>
        </p:txBody>
      </p:sp>
      <p:pic>
        <p:nvPicPr>
          <p:cNvPr id="74" name="Imagen 73"/>
          <p:cNvPicPr>
            <a:picLocks noChangeAspect="1"/>
          </p:cNvPicPr>
          <p:nvPr/>
        </p:nvPicPr>
        <p:blipFill rotWithShape="1">
          <a:blip r:embed="rId3"/>
          <a:srcRect t="2647" r="23038" b="85943"/>
          <a:stretch/>
        </p:blipFill>
        <p:spPr>
          <a:xfrm>
            <a:off x="1194043" y="3723106"/>
            <a:ext cx="1301742" cy="292652"/>
          </a:xfrm>
          <a:prstGeom prst="rect">
            <a:avLst/>
          </a:prstGeom>
        </p:spPr>
      </p:pic>
      <p:sp>
        <p:nvSpPr>
          <p:cNvPr id="76" name="3 Rectángulo"/>
          <p:cNvSpPr/>
          <p:nvPr/>
        </p:nvSpPr>
        <p:spPr bwMode="auto">
          <a:xfrm>
            <a:off x="1194043" y="3704407"/>
            <a:ext cx="1301742" cy="292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61220" tIns="30611" rIns="61220" bIns="30611">
            <a:spAutoFit/>
          </a:bodyPr>
          <a:lstStyle/>
          <a:p>
            <a:pPr algn="ctr" fontAlgn="ctr">
              <a:defRPr/>
            </a:pPr>
            <a:r>
              <a:rPr lang="es-ES" sz="1500" b="1" dirty="0">
                <a:solidFill>
                  <a:schemeClr val="bg1"/>
                </a:solidFill>
                <a:latin typeface="Gotham Rounded Medium" panose="02000000000000000000" pitchFamily="50" charset="0"/>
              </a:rPr>
              <a:t>A Bogotá</a:t>
            </a:r>
          </a:p>
        </p:txBody>
      </p:sp>
      <p:pic>
        <p:nvPicPr>
          <p:cNvPr id="77" name="Imagen 76"/>
          <p:cNvPicPr>
            <a:picLocks noChangeAspect="1"/>
          </p:cNvPicPr>
          <p:nvPr/>
        </p:nvPicPr>
        <p:blipFill rotWithShape="1">
          <a:blip r:embed="rId3"/>
          <a:srcRect t="2647" r="23038" b="85943"/>
          <a:stretch/>
        </p:blipFill>
        <p:spPr>
          <a:xfrm>
            <a:off x="4557344" y="1785438"/>
            <a:ext cx="1301742" cy="292652"/>
          </a:xfrm>
          <a:prstGeom prst="rect">
            <a:avLst/>
          </a:prstGeom>
        </p:spPr>
      </p:pic>
      <p:sp>
        <p:nvSpPr>
          <p:cNvPr id="78" name="3 Rectángulo"/>
          <p:cNvSpPr/>
          <p:nvPr/>
        </p:nvSpPr>
        <p:spPr bwMode="auto">
          <a:xfrm>
            <a:off x="4557344" y="1766739"/>
            <a:ext cx="1301742" cy="292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61220" tIns="30611" rIns="61220" bIns="30611">
            <a:spAutoFit/>
          </a:bodyPr>
          <a:lstStyle/>
          <a:p>
            <a:pPr algn="ctr" fontAlgn="ctr">
              <a:defRPr/>
            </a:pPr>
            <a:r>
              <a:rPr lang="es-ES" sz="1500" b="1" dirty="0">
                <a:solidFill>
                  <a:schemeClr val="bg1"/>
                </a:solidFill>
                <a:latin typeface="Gotham Rounded Medium" panose="02000000000000000000" pitchFamily="50" charset="0"/>
              </a:rPr>
              <a:t>A Girardot</a:t>
            </a:r>
          </a:p>
        </p:txBody>
      </p:sp>
    </p:spTree>
    <p:extLst>
      <p:ext uri="{BB962C8B-B14F-4D97-AF65-F5344CB8AC3E}">
        <p14:creationId xmlns:p14="http://schemas.microsoft.com/office/powerpoint/2010/main" val="38029857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4323" y="630773"/>
            <a:ext cx="9168323" cy="4517490"/>
          </a:xfrm>
          <a:prstGeom prst="rect">
            <a:avLst/>
          </a:prstGeom>
        </p:spPr>
      </p:pic>
      <p:sp>
        <p:nvSpPr>
          <p:cNvPr id="134" name="AutoShape 131"/>
          <p:cNvSpPr>
            <a:spLocks noChangeAspect="1" noChangeArrowheads="1" noTextEdit="1"/>
          </p:cNvSpPr>
          <p:nvPr/>
        </p:nvSpPr>
        <p:spPr bwMode="auto">
          <a:xfrm>
            <a:off x="0" y="0"/>
            <a:ext cx="9144000" cy="5148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s-CO" sz="1050"/>
          </a:p>
        </p:txBody>
      </p:sp>
      <p:pic>
        <p:nvPicPr>
          <p:cNvPr id="68" name="Imagen 67"/>
          <p:cNvPicPr>
            <a:picLocks noChangeAspect="1"/>
          </p:cNvPicPr>
          <p:nvPr/>
        </p:nvPicPr>
        <p:blipFill rotWithShape="1">
          <a:blip r:embed="rId3"/>
          <a:srcRect t="2647" r="23038" b="85943"/>
          <a:stretch/>
        </p:blipFill>
        <p:spPr>
          <a:xfrm>
            <a:off x="0" y="79805"/>
            <a:ext cx="6746032" cy="586946"/>
          </a:xfrm>
          <a:prstGeom prst="rect">
            <a:avLst/>
          </a:prstGeom>
        </p:spPr>
      </p:pic>
      <p:sp>
        <p:nvSpPr>
          <p:cNvPr id="69" name="3 Rectángulo"/>
          <p:cNvSpPr/>
          <p:nvPr/>
        </p:nvSpPr>
        <p:spPr bwMode="auto">
          <a:xfrm>
            <a:off x="73381" y="179698"/>
            <a:ext cx="6480303" cy="3849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61220" tIns="30611" rIns="61220" bIns="30611">
            <a:spAutoFit/>
          </a:bodyPr>
          <a:lstStyle/>
          <a:p>
            <a:pPr fontAlgn="ctr">
              <a:defRPr/>
            </a:pPr>
            <a:r>
              <a:rPr lang="es-ES" sz="2100" b="1" dirty="0">
                <a:solidFill>
                  <a:schemeClr val="bg1"/>
                </a:solidFill>
                <a:latin typeface="Gotham Rounded Medium" panose="02000000000000000000" pitchFamily="50" charset="0"/>
              </a:rPr>
              <a:t>I. Alcance - Etapas</a:t>
            </a:r>
          </a:p>
        </p:txBody>
      </p:sp>
      <p:pic>
        <p:nvPicPr>
          <p:cNvPr id="84" name="Imagen 83"/>
          <p:cNvPicPr>
            <a:picLocks noChangeAspect="1"/>
          </p:cNvPicPr>
          <p:nvPr/>
        </p:nvPicPr>
        <p:blipFill rotWithShape="1">
          <a:blip r:embed="rId3"/>
          <a:srcRect t="2647" r="23038" b="85943"/>
          <a:stretch/>
        </p:blipFill>
        <p:spPr>
          <a:xfrm>
            <a:off x="-47967" y="4559534"/>
            <a:ext cx="2965342" cy="591276"/>
          </a:xfrm>
          <a:prstGeom prst="rect">
            <a:avLst/>
          </a:prstGeom>
        </p:spPr>
      </p:pic>
      <p:sp>
        <p:nvSpPr>
          <p:cNvPr id="85" name="3 Rectángulo"/>
          <p:cNvSpPr/>
          <p:nvPr/>
        </p:nvSpPr>
        <p:spPr bwMode="auto">
          <a:xfrm>
            <a:off x="-95751" y="4614574"/>
            <a:ext cx="3013126" cy="523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61220" tIns="30611" rIns="61220" bIns="30611">
            <a:spAutoFit/>
          </a:bodyPr>
          <a:lstStyle/>
          <a:p>
            <a:pPr algn="ctr" fontAlgn="ctr">
              <a:defRPr/>
            </a:pPr>
            <a:r>
              <a:rPr lang="es-ES" sz="1500" b="1" dirty="0">
                <a:solidFill>
                  <a:schemeClr val="bg1"/>
                </a:solidFill>
                <a:latin typeface="Gotham Rounded Medium" panose="02000000000000000000" pitchFamily="50" charset="0"/>
              </a:rPr>
              <a:t>Sección típica del proyecto</a:t>
            </a:r>
          </a:p>
          <a:p>
            <a:pPr algn="ctr" fontAlgn="ctr">
              <a:defRPr/>
            </a:pPr>
            <a:r>
              <a:rPr lang="es-ES" sz="1500" b="1" dirty="0">
                <a:solidFill>
                  <a:schemeClr val="bg1"/>
                </a:solidFill>
                <a:latin typeface="Gotham Rounded Medium" panose="02000000000000000000" pitchFamily="50" charset="0"/>
              </a:rPr>
              <a:t>Río Bogotá –Calle 13</a:t>
            </a:r>
          </a:p>
        </p:txBody>
      </p:sp>
      <p:pic>
        <p:nvPicPr>
          <p:cNvPr id="75" name="Imagen 74"/>
          <p:cNvPicPr>
            <a:picLocks noChangeAspect="1"/>
          </p:cNvPicPr>
          <p:nvPr/>
        </p:nvPicPr>
        <p:blipFill rotWithShape="1">
          <a:blip r:embed="rId3"/>
          <a:srcRect t="2647" r="23038" b="85943"/>
          <a:stretch/>
        </p:blipFill>
        <p:spPr>
          <a:xfrm>
            <a:off x="3666213" y="3581668"/>
            <a:ext cx="1301742" cy="292652"/>
          </a:xfrm>
          <a:prstGeom prst="rect">
            <a:avLst/>
          </a:prstGeom>
        </p:spPr>
      </p:pic>
      <p:sp>
        <p:nvSpPr>
          <p:cNvPr id="76" name="3 Rectángulo"/>
          <p:cNvSpPr/>
          <p:nvPr/>
        </p:nvSpPr>
        <p:spPr bwMode="auto">
          <a:xfrm>
            <a:off x="3666213" y="3579121"/>
            <a:ext cx="1301742" cy="292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61220" tIns="30611" rIns="61220" bIns="30611">
            <a:spAutoFit/>
          </a:bodyPr>
          <a:lstStyle/>
          <a:p>
            <a:pPr algn="ctr" fontAlgn="ctr">
              <a:defRPr/>
            </a:pPr>
            <a:r>
              <a:rPr lang="es-ES" sz="1500" b="1" dirty="0">
                <a:solidFill>
                  <a:schemeClr val="bg1"/>
                </a:solidFill>
                <a:latin typeface="Gotham Rounded Medium" panose="02000000000000000000" pitchFamily="50" charset="0"/>
              </a:rPr>
              <a:t>A Bogotá</a:t>
            </a:r>
          </a:p>
        </p:txBody>
      </p:sp>
      <p:pic>
        <p:nvPicPr>
          <p:cNvPr id="77" name="Imagen 76"/>
          <p:cNvPicPr>
            <a:picLocks noChangeAspect="1"/>
          </p:cNvPicPr>
          <p:nvPr/>
        </p:nvPicPr>
        <p:blipFill rotWithShape="1">
          <a:blip r:embed="rId3"/>
          <a:srcRect t="2647" r="23038" b="85943"/>
          <a:stretch/>
        </p:blipFill>
        <p:spPr>
          <a:xfrm>
            <a:off x="6239676" y="1740295"/>
            <a:ext cx="1301742" cy="292652"/>
          </a:xfrm>
          <a:prstGeom prst="rect">
            <a:avLst/>
          </a:prstGeom>
        </p:spPr>
      </p:pic>
      <p:sp>
        <p:nvSpPr>
          <p:cNvPr id="78" name="3 Rectángulo"/>
          <p:cNvSpPr/>
          <p:nvPr/>
        </p:nvSpPr>
        <p:spPr bwMode="auto">
          <a:xfrm>
            <a:off x="6239676" y="1721596"/>
            <a:ext cx="1301742" cy="292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61220" tIns="30611" rIns="61220" bIns="30611">
            <a:spAutoFit/>
          </a:bodyPr>
          <a:lstStyle/>
          <a:p>
            <a:pPr algn="ctr" fontAlgn="ctr">
              <a:defRPr/>
            </a:pPr>
            <a:r>
              <a:rPr lang="es-ES" sz="1500" b="1" dirty="0">
                <a:solidFill>
                  <a:schemeClr val="bg1"/>
                </a:solidFill>
                <a:latin typeface="Gotham Rounded Medium" panose="02000000000000000000" pitchFamily="50" charset="0"/>
              </a:rPr>
              <a:t>A Girardot</a:t>
            </a:r>
          </a:p>
        </p:txBody>
      </p:sp>
      <p:sp>
        <p:nvSpPr>
          <p:cNvPr id="79" name="CuadroTexto 78"/>
          <p:cNvSpPr txBox="1"/>
          <p:nvPr/>
        </p:nvSpPr>
        <p:spPr>
          <a:xfrm rot="2679904">
            <a:off x="7401980" y="2770981"/>
            <a:ext cx="122497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050" dirty="0">
                <a:solidFill>
                  <a:schemeClr val="bg1"/>
                </a:solidFill>
              </a:rPr>
              <a:t>Canal</a:t>
            </a:r>
          </a:p>
          <a:p>
            <a:pPr algn="ctr"/>
            <a:r>
              <a:rPr lang="es-CO" sz="1050" dirty="0">
                <a:solidFill>
                  <a:schemeClr val="bg1"/>
                </a:solidFill>
              </a:rPr>
              <a:t>Cundinamarca</a:t>
            </a:r>
          </a:p>
        </p:txBody>
      </p:sp>
    </p:spTree>
    <p:extLst>
      <p:ext uri="{BB962C8B-B14F-4D97-AF65-F5344CB8AC3E}">
        <p14:creationId xmlns:p14="http://schemas.microsoft.com/office/powerpoint/2010/main" val="21874090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7967" y="641487"/>
            <a:ext cx="9191967" cy="4521529"/>
          </a:xfrm>
          <a:prstGeom prst="rect">
            <a:avLst/>
          </a:prstGeom>
        </p:spPr>
      </p:pic>
      <p:sp>
        <p:nvSpPr>
          <p:cNvPr id="134" name="AutoShape 131"/>
          <p:cNvSpPr>
            <a:spLocks noChangeAspect="1" noChangeArrowheads="1" noTextEdit="1"/>
          </p:cNvSpPr>
          <p:nvPr/>
        </p:nvSpPr>
        <p:spPr bwMode="auto">
          <a:xfrm>
            <a:off x="0" y="0"/>
            <a:ext cx="9144000" cy="5148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s-CO" sz="1050"/>
          </a:p>
        </p:txBody>
      </p:sp>
      <p:pic>
        <p:nvPicPr>
          <p:cNvPr id="68" name="Imagen 67"/>
          <p:cNvPicPr>
            <a:picLocks noChangeAspect="1"/>
          </p:cNvPicPr>
          <p:nvPr/>
        </p:nvPicPr>
        <p:blipFill rotWithShape="1">
          <a:blip r:embed="rId3"/>
          <a:srcRect t="2647" r="23038" b="85943"/>
          <a:stretch/>
        </p:blipFill>
        <p:spPr>
          <a:xfrm>
            <a:off x="0" y="79805"/>
            <a:ext cx="6746032" cy="586946"/>
          </a:xfrm>
          <a:prstGeom prst="rect">
            <a:avLst/>
          </a:prstGeom>
        </p:spPr>
      </p:pic>
      <p:sp>
        <p:nvSpPr>
          <p:cNvPr id="69" name="3 Rectángulo"/>
          <p:cNvSpPr/>
          <p:nvPr/>
        </p:nvSpPr>
        <p:spPr bwMode="auto">
          <a:xfrm>
            <a:off x="48324" y="178129"/>
            <a:ext cx="6480303" cy="3849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61220" tIns="30611" rIns="61220" bIns="30611">
            <a:spAutoFit/>
          </a:bodyPr>
          <a:lstStyle/>
          <a:p>
            <a:pPr fontAlgn="ctr">
              <a:defRPr/>
            </a:pPr>
            <a:r>
              <a:rPr lang="es-ES" sz="2100" b="1" dirty="0">
                <a:solidFill>
                  <a:schemeClr val="bg1"/>
                </a:solidFill>
                <a:latin typeface="Gotham Rounded Medium" panose="02000000000000000000" pitchFamily="50" charset="0"/>
              </a:rPr>
              <a:t>I. Alcance – Alameda Oriental en Bogotá (9,5 Km)</a:t>
            </a:r>
          </a:p>
        </p:txBody>
      </p:sp>
      <p:pic>
        <p:nvPicPr>
          <p:cNvPr id="84" name="Imagen 83"/>
          <p:cNvPicPr>
            <a:picLocks noChangeAspect="1"/>
          </p:cNvPicPr>
          <p:nvPr/>
        </p:nvPicPr>
        <p:blipFill rotWithShape="1">
          <a:blip r:embed="rId3"/>
          <a:srcRect t="2647" r="23038" b="85943"/>
          <a:stretch/>
        </p:blipFill>
        <p:spPr>
          <a:xfrm>
            <a:off x="-47967" y="4559534"/>
            <a:ext cx="4244730" cy="591276"/>
          </a:xfrm>
          <a:prstGeom prst="rect">
            <a:avLst/>
          </a:prstGeom>
        </p:spPr>
      </p:pic>
      <p:sp>
        <p:nvSpPr>
          <p:cNvPr id="85" name="3 Rectángulo"/>
          <p:cNvSpPr/>
          <p:nvPr/>
        </p:nvSpPr>
        <p:spPr bwMode="auto">
          <a:xfrm>
            <a:off x="56646" y="4701658"/>
            <a:ext cx="4140117" cy="292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61220" tIns="30611" rIns="61220" bIns="30611">
            <a:spAutoFit/>
          </a:bodyPr>
          <a:lstStyle/>
          <a:p>
            <a:pPr fontAlgn="ctr">
              <a:defRPr/>
            </a:pPr>
            <a:r>
              <a:rPr lang="es-ES" sz="1500" b="1" dirty="0">
                <a:solidFill>
                  <a:schemeClr val="bg1"/>
                </a:solidFill>
                <a:latin typeface="Gotham Rounded Medium" panose="02000000000000000000" pitchFamily="50" charset="0"/>
              </a:rPr>
              <a:t>Alameda oriental Río Bogotá –Calle 13</a:t>
            </a:r>
          </a:p>
        </p:txBody>
      </p:sp>
      <p:sp>
        <p:nvSpPr>
          <p:cNvPr id="86" name="3 Rectángulo"/>
          <p:cNvSpPr/>
          <p:nvPr/>
        </p:nvSpPr>
        <p:spPr bwMode="auto">
          <a:xfrm rot="1556388">
            <a:off x="4992964" y="3036804"/>
            <a:ext cx="846057" cy="292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61220" tIns="30611" rIns="61220" bIns="30611">
            <a:spAutoFit/>
          </a:bodyPr>
          <a:lstStyle/>
          <a:p>
            <a:pPr algn="ctr" fontAlgn="ctr">
              <a:defRPr/>
            </a:pPr>
            <a:r>
              <a:rPr lang="es-ES" sz="1500" b="1" dirty="0">
                <a:latin typeface="Gotham Rounded Medium" panose="02000000000000000000" pitchFamily="50" charset="0"/>
              </a:rPr>
              <a:t>4,0 m</a:t>
            </a:r>
          </a:p>
        </p:txBody>
      </p:sp>
      <p:cxnSp>
        <p:nvCxnSpPr>
          <p:cNvPr id="6" name="Conector recto de flecha 5"/>
          <p:cNvCxnSpPr/>
          <p:nvPr/>
        </p:nvCxnSpPr>
        <p:spPr>
          <a:xfrm>
            <a:off x="4927963" y="3046912"/>
            <a:ext cx="808809" cy="403860"/>
          </a:xfrm>
          <a:prstGeom prst="straightConnector1">
            <a:avLst/>
          </a:prstGeom>
          <a:ln w="254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Conector recto de flecha 86"/>
          <p:cNvCxnSpPr/>
          <p:nvPr/>
        </p:nvCxnSpPr>
        <p:spPr>
          <a:xfrm>
            <a:off x="5084716" y="2655025"/>
            <a:ext cx="3232820" cy="1337834"/>
          </a:xfrm>
          <a:prstGeom prst="straightConnector1">
            <a:avLst/>
          </a:prstGeom>
          <a:ln w="254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3 Rectángulo"/>
          <p:cNvSpPr/>
          <p:nvPr/>
        </p:nvSpPr>
        <p:spPr bwMode="auto">
          <a:xfrm rot="1317244">
            <a:off x="6141057" y="2987818"/>
            <a:ext cx="846057" cy="292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61220" tIns="30611" rIns="61220" bIns="30611">
            <a:spAutoFit/>
          </a:bodyPr>
          <a:lstStyle/>
          <a:p>
            <a:pPr algn="ctr" fontAlgn="ctr">
              <a:defRPr/>
            </a:pPr>
            <a:r>
              <a:rPr lang="es-ES" sz="1500" b="1" dirty="0">
                <a:latin typeface="Gotham Rounded Medium" panose="02000000000000000000" pitchFamily="50" charset="0"/>
              </a:rPr>
              <a:t>16,0 m</a:t>
            </a:r>
          </a:p>
        </p:txBody>
      </p:sp>
    </p:spTree>
    <p:extLst>
      <p:ext uri="{BB962C8B-B14F-4D97-AF65-F5344CB8AC3E}">
        <p14:creationId xmlns:p14="http://schemas.microsoft.com/office/powerpoint/2010/main" val="241677714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65300"/>
            <a:ext cx="9144000" cy="4466957"/>
          </a:xfrm>
          <a:prstGeom prst="rect">
            <a:avLst/>
          </a:prstGeom>
        </p:spPr>
      </p:pic>
      <p:sp>
        <p:nvSpPr>
          <p:cNvPr id="134" name="AutoShape 131"/>
          <p:cNvSpPr>
            <a:spLocks noChangeAspect="1" noChangeArrowheads="1" noTextEdit="1"/>
          </p:cNvSpPr>
          <p:nvPr/>
        </p:nvSpPr>
        <p:spPr bwMode="auto">
          <a:xfrm>
            <a:off x="1858883" y="625888"/>
            <a:ext cx="9144000" cy="5148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s-CO" sz="1050"/>
          </a:p>
        </p:txBody>
      </p:sp>
      <p:pic>
        <p:nvPicPr>
          <p:cNvPr id="68" name="Imagen 67"/>
          <p:cNvPicPr>
            <a:picLocks noChangeAspect="1"/>
          </p:cNvPicPr>
          <p:nvPr/>
        </p:nvPicPr>
        <p:blipFill rotWithShape="1">
          <a:blip r:embed="rId3"/>
          <a:srcRect t="2647" r="23038" b="85943"/>
          <a:stretch/>
        </p:blipFill>
        <p:spPr>
          <a:xfrm>
            <a:off x="0" y="79805"/>
            <a:ext cx="6746032" cy="586946"/>
          </a:xfrm>
          <a:prstGeom prst="rect">
            <a:avLst/>
          </a:prstGeom>
        </p:spPr>
      </p:pic>
      <p:sp>
        <p:nvSpPr>
          <p:cNvPr id="69" name="3 Rectángulo"/>
          <p:cNvSpPr/>
          <p:nvPr/>
        </p:nvSpPr>
        <p:spPr bwMode="auto">
          <a:xfrm>
            <a:off x="85376" y="169861"/>
            <a:ext cx="6480303" cy="3849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61220" tIns="30611" rIns="61220" bIns="30611">
            <a:spAutoFit/>
          </a:bodyPr>
          <a:lstStyle/>
          <a:p>
            <a:pPr fontAlgn="ctr">
              <a:defRPr/>
            </a:pPr>
            <a:r>
              <a:rPr lang="es-ES" sz="2100" b="1" dirty="0">
                <a:solidFill>
                  <a:schemeClr val="bg1"/>
                </a:solidFill>
                <a:latin typeface="Gotham Rounded Medium" panose="02000000000000000000" pitchFamily="50" charset="0"/>
              </a:rPr>
              <a:t>I. Alcance – Intersección ALO – Calle 13</a:t>
            </a:r>
          </a:p>
        </p:txBody>
      </p:sp>
      <p:pic>
        <p:nvPicPr>
          <p:cNvPr id="84" name="Imagen 83"/>
          <p:cNvPicPr>
            <a:picLocks noChangeAspect="1"/>
          </p:cNvPicPr>
          <p:nvPr/>
        </p:nvPicPr>
        <p:blipFill rotWithShape="1">
          <a:blip r:embed="rId3"/>
          <a:srcRect t="2647" r="23038" b="85943"/>
          <a:stretch/>
        </p:blipFill>
        <p:spPr>
          <a:xfrm>
            <a:off x="25279" y="4658209"/>
            <a:ext cx="5790355" cy="490054"/>
          </a:xfrm>
          <a:prstGeom prst="rect">
            <a:avLst/>
          </a:prstGeom>
        </p:spPr>
      </p:pic>
      <p:sp>
        <p:nvSpPr>
          <p:cNvPr id="85" name="3 Rectángulo"/>
          <p:cNvSpPr/>
          <p:nvPr/>
        </p:nvSpPr>
        <p:spPr bwMode="auto">
          <a:xfrm>
            <a:off x="25279" y="4756909"/>
            <a:ext cx="6160940" cy="292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61220" tIns="30611" rIns="61220" bIns="30611">
            <a:spAutoFit/>
          </a:bodyPr>
          <a:lstStyle/>
          <a:p>
            <a:pPr fontAlgn="ctr">
              <a:defRPr/>
            </a:pPr>
            <a:r>
              <a:rPr lang="es-ES" sz="1500" b="1" dirty="0">
                <a:solidFill>
                  <a:schemeClr val="bg1"/>
                </a:solidFill>
                <a:latin typeface="Gotham Rounded Medium" panose="02000000000000000000" pitchFamily="50" charset="0"/>
              </a:rPr>
              <a:t>Intersección Tipo Trompeta – </a:t>
            </a:r>
            <a:r>
              <a:rPr lang="es-ES" sz="1500" b="1" dirty="0" err="1">
                <a:solidFill>
                  <a:schemeClr val="bg1"/>
                </a:solidFill>
                <a:latin typeface="Gotham Rounded Medium" panose="02000000000000000000" pitchFamily="50" charset="0"/>
              </a:rPr>
              <a:t>Incluída</a:t>
            </a:r>
            <a:r>
              <a:rPr lang="es-ES" sz="1500" b="1" dirty="0">
                <a:solidFill>
                  <a:schemeClr val="bg1"/>
                </a:solidFill>
                <a:latin typeface="Gotham Rounded Medium" panose="02000000000000000000" pitchFamily="50" charset="0"/>
              </a:rPr>
              <a:t> en el Proyecto</a:t>
            </a:r>
          </a:p>
        </p:txBody>
      </p:sp>
      <p:pic>
        <p:nvPicPr>
          <p:cNvPr id="76" name="Imagen 75"/>
          <p:cNvPicPr>
            <a:picLocks noChangeAspect="1"/>
          </p:cNvPicPr>
          <p:nvPr/>
        </p:nvPicPr>
        <p:blipFill rotWithShape="1">
          <a:blip r:embed="rId3"/>
          <a:srcRect t="2647" r="23038" b="85943"/>
          <a:stretch/>
        </p:blipFill>
        <p:spPr>
          <a:xfrm rot="20846169">
            <a:off x="3621450" y="1759628"/>
            <a:ext cx="862214" cy="292652"/>
          </a:xfrm>
          <a:prstGeom prst="rect">
            <a:avLst/>
          </a:prstGeom>
        </p:spPr>
      </p:pic>
      <p:sp>
        <p:nvSpPr>
          <p:cNvPr id="77" name="3 Rectángulo"/>
          <p:cNvSpPr/>
          <p:nvPr/>
        </p:nvSpPr>
        <p:spPr bwMode="auto">
          <a:xfrm rot="20960913">
            <a:off x="3479531" y="1746807"/>
            <a:ext cx="1107401" cy="292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61220" tIns="30611" rIns="61220" bIns="30611">
            <a:spAutoFit/>
          </a:bodyPr>
          <a:lstStyle/>
          <a:p>
            <a:pPr algn="ctr" fontAlgn="ctr">
              <a:defRPr/>
            </a:pPr>
            <a:r>
              <a:rPr lang="es-ES" sz="1500" b="1" dirty="0">
                <a:solidFill>
                  <a:schemeClr val="bg1"/>
                </a:solidFill>
                <a:latin typeface="Gotham Rounded Medium" panose="02000000000000000000" pitchFamily="50" charset="0"/>
              </a:rPr>
              <a:t>Calle 13</a:t>
            </a:r>
          </a:p>
        </p:txBody>
      </p:sp>
      <p:pic>
        <p:nvPicPr>
          <p:cNvPr id="78" name="Imagen 77"/>
          <p:cNvPicPr>
            <a:picLocks noChangeAspect="1"/>
          </p:cNvPicPr>
          <p:nvPr/>
        </p:nvPicPr>
        <p:blipFill rotWithShape="1">
          <a:blip r:embed="rId3"/>
          <a:srcRect t="2647" r="23038" b="85943"/>
          <a:stretch/>
        </p:blipFill>
        <p:spPr>
          <a:xfrm rot="21031696">
            <a:off x="6263489" y="3530375"/>
            <a:ext cx="1301742" cy="292652"/>
          </a:xfrm>
          <a:prstGeom prst="rect">
            <a:avLst/>
          </a:prstGeom>
        </p:spPr>
      </p:pic>
      <p:sp>
        <p:nvSpPr>
          <p:cNvPr id="79" name="3 Rectángulo"/>
          <p:cNvSpPr/>
          <p:nvPr/>
        </p:nvSpPr>
        <p:spPr bwMode="auto">
          <a:xfrm rot="20911077">
            <a:off x="6263489" y="3511676"/>
            <a:ext cx="1301742" cy="292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61220" tIns="30611" rIns="61220" bIns="30611">
            <a:spAutoFit/>
          </a:bodyPr>
          <a:lstStyle/>
          <a:p>
            <a:pPr algn="ctr" fontAlgn="ctr">
              <a:defRPr/>
            </a:pPr>
            <a:r>
              <a:rPr lang="es-ES" sz="1500" b="1" dirty="0">
                <a:solidFill>
                  <a:schemeClr val="bg1"/>
                </a:solidFill>
                <a:latin typeface="Gotham Rounded Medium" panose="02000000000000000000" pitchFamily="50" charset="0"/>
              </a:rPr>
              <a:t>A Fontibón</a:t>
            </a:r>
          </a:p>
        </p:txBody>
      </p:sp>
      <p:pic>
        <p:nvPicPr>
          <p:cNvPr id="80" name="Imagen 79"/>
          <p:cNvPicPr>
            <a:picLocks noChangeAspect="1"/>
          </p:cNvPicPr>
          <p:nvPr/>
        </p:nvPicPr>
        <p:blipFill rotWithShape="1">
          <a:blip r:embed="rId3"/>
          <a:srcRect t="2647" r="23038" b="85943"/>
          <a:stretch/>
        </p:blipFill>
        <p:spPr>
          <a:xfrm>
            <a:off x="5129783" y="726513"/>
            <a:ext cx="1301742" cy="292652"/>
          </a:xfrm>
          <a:prstGeom prst="rect">
            <a:avLst/>
          </a:prstGeom>
        </p:spPr>
      </p:pic>
      <p:sp>
        <p:nvSpPr>
          <p:cNvPr id="81" name="3 Rectángulo"/>
          <p:cNvSpPr/>
          <p:nvPr/>
        </p:nvSpPr>
        <p:spPr bwMode="auto">
          <a:xfrm>
            <a:off x="5129783" y="707814"/>
            <a:ext cx="1301742" cy="292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61220" tIns="30611" rIns="61220" bIns="30611">
            <a:spAutoFit/>
          </a:bodyPr>
          <a:lstStyle/>
          <a:p>
            <a:pPr algn="ctr" fontAlgn="ctr">
              <a:defRPr/>
            </a:pPr>
            <a:r>
              <a:rPr lang="es-ES" sz="1500" b="1" dirty="0">
                <a:solidFill>
                  <a:schemeClr val="bg1"/>
                </a:solidFill>
                <a:latin typeface="Gotham Rounded Medium" panose="02000000000000000000" pitchFamily="50" charset="0"/>
              </a:rPr>
              <a:t>A Girardot</a:t>
            </a:r>
          </a:p>
        </p:txBody>
      </p:sp>
      <p:pic>
        <p:nvPicPr>
          <p:cNvPr id="82" name="Imagen 81"/>
          <p:cNvPicPr>
            <a:picLocks noChangeAspect="1"/>
          </p:cNvPicPr>
          <p:nvPr/>
        </p:nvPicPr>
        <p:blipFill rotWithShape="1">
          <a:blip r:embed="rId3"/>
          <a:srcRect t="2647" r="23038" b="85943"/>
          <a:stretch/>
        </p:blipFill>
        <p:spPr>
          <a:xfrm>
            <a:off x="378251" y="1881879"/>
            <a:ext cx="1301742" cy="292652"/>
          </a:xfrm>
          <a:prstGeom prst="rect">
            <a:avLst/>
          </a:prstGeom>
        </p:spPr>
      </p:pic>
      <p:sp>
        <p:nvSpPr>
          <p:cNvPr id="86" name="3 Rectángulo"/>
          <p:cNvSpPr/>
          <p:nvPr/>
        </p:nvSpPr>
        <p:spPr bwMode="auto">
          <a:xfrm>
            <a:off x="378251" y="1863180"/>
            <a:ext cx="1301742" cy="292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61220" tIns="30611" rIns="61220" bIns="30611">
            <a:spAutoFit/>
          </a:bodyPr>
          <a:lstStyle/>
          <a:p>
            <a:pPr algn="ctr" fontAlgn="ctr">
              <a:defRPr/>
            </a:pPr>
            <a:r>
              <a:rPr lang="es-ES" sz="1500" b="1" dirty="0">
                <a:solidFill>
                  <a:schemeClr val="bg1"/>
                </a:solidFill>
                <a:latin typeface="Gotham Rounded Medium" panose="02000000000000000000" pitchFamily="50" charset="0"/>
              </a:rPr>
              <a:t>Al Centro</a:t>
            </a:r>
          </a:p>
        </p:txBody>
      </p:sp>
      <p:sp>
        <p:nvSpPr>
          <p:cNvPr id="3" name="Flecha izquierda 2"/>
          <p:cNvSpPr/>
          <p:nvPr/>
        </p:nvSpPr>
        <p:spPr>
          <a:xfrm>
            <a:off x="819496" y="2160937"/>
            <a:ext cx="419252" cy="162733"/>
          </a:xfrm>
          <a:prstGeom prst="leftArrow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050"/>
          </a:p>
        </p:txBody>
      </p:sp>
      <p:sp>
        <p:nvSpPr>
          <p:cNvPr id="87" name="Flecha izquierda 86"/>
          <p:cNvSpPr/>
          <p:nvPr/>
        </p:nvSpPr>
        <p:spPr>
          <a:xfrm rot="10318325">
            <a:off x="6802985" y="3836748"/>
            <a:ext cx="419252" cy="162733"/>
          </a:xfrm>
          <a:prstGeom prst="leftArrow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050"/>
          </a:p>
        </p:txBody>
      </p:sp>
      <p:sp>
        <p:nvSpPr>
          <p:cNvPr id="88" name="Flecha izquierda 87"/>
          <p:cNvSpPr/>
          <p:nvPr/>
        </p:nvSpPr>
        <p:spPr>
          <a:xfrm rot="9847461">
            <a:off x="7660939" y="1253841"/>
            <a:ext cx="419252" cy="162733"/>
          </a:xfrm>
          <a:prstGeom prst="leftArrow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050"/>
          </a:p>
        </p:txBody>
      </p:sp>
      <p:pic>
        <p:nvPicPr>
          <p:cNvPr id="89" name="Imagen 88"/>
          <p:cNvPicPr>
            <a:picLocks noChangeAspect="1"/>
          </p:cNvPicPr>
          <p:nvPr/>
        </p:nvPicPr>
        <p:blipFill rotWithShape="1">
          <a:blip r:embed="rId3"/>
          <a:srcRect t="2647" r="23038" b="85943"/>
          <a:stretch/>
        </p:blipFill>
        <p:spPr>
          <a:xfrm rot="20876056">
            <a:off x="7171840" y="974046"/>
            <a:ext cx="987677" cy="292652"/>
          </a:xfrm>
          <a:prstGeom prst="rect">
            <a:avLst/>
          </a:prstGeom>
        </p:spPr>
      </p:pic>
      <p:sp>
        <p:nvSpPr>
          <p:cNvPr id="90" name="3 Rectángulo"/>
          <p:cNvSpPr/>
          <p:nvPr/>
        </p:nvSpPr>
        <p:spPr bwMode="auto">
          <a:xfrm rot="20764738">
            <a:off x="7171840" y="955347"/>
            <a:ext cx="987677" cy="292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61220" tIns="30611" rIns="61220" bIns="30611">
            <a:spAutoFit/>
          </a:bodyPr>
          <a:lstStyle/>
          <a:p>
            <a:pPr algn="ctr" fontAlgn="ctr">
              <a:defRPr/>
            </a:pPr>
            <a:r>
              <a:rPr lang="es-ES" sz="1500" b="1" dirty="0">
                <a:solidFill>
                  <a:schemeClr val="bg1"/>
                </a:solidFill>
                <a:latin typeface="Gotham Rounded Medium" panose="02000000000000000000" pitchFamily="50" charset="0"/>
              </a:rPr>
              <a:t>A Funza</a:t>
            </a:r>
          </a:p>
        </p:txBody>
      </p:sp>
      <p:sp>
        <p:nvSpPr>
          <p:cNvPr id="91" name="Flecha izquierda 90"/>
          <p:cNvSpPr/>
          <p:nvPr/>
        </p:nvSpPr>
        <p:spPr>
          <a:xfrm rot="4173197">
            <a:off x="4639719" y="836160"/>
            <a:ext cx="419252" cy="162733"/>
          </a:xfrm>
          <a:prstGeom prst="leftArrow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050"/>
          </a:p>
        </p:txBody>
      </p:sp>
    </p:spTree>
    <p:extLst>
      <p:ext uri="{BB962C8B-B14F-4D97-AF65-F5344CB8AC3E}">
        <p14:creationId xmlns:p14="http://schemas.microsoft.com/office/powerpoint/2010/main" val="39904156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4" name="Conector recto de flecha 23">
            <a:extLst>
              <a:ext uri="{FF2B5EF4-FFF2-40B4-BE49-F238E27FC236}">
                <a16:creationId xmlns:a16="http://schemas.microsoft.com/office/drawing/2014/main" id="{2FFBC256-0353-4F09-857F-A76AB3422CBD}"/>
              </a:ext>
            </a:extLst>
          </p:cNvPr>
          <p:cNvCxnSpPr>
            <a:cxnSpLocks/>
            <a:endCxn id="30" idx="6"/>
          </p:cNvCxnSpPr>
          <p:nvPr/>
        </p:nvCxnSpPr>
        <p:spPr>
          <a:xfrm flipV="1">
            <a:off x="546246" y="2546493"/>
            <a:ext cx="3664249" cy="1860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26" name="CuadroTexto 25">
            <a:extLst>
              <a:ext uri="{FF2B5EF4-FFF2-40B4-BE49-F238E27FC236}">
                <a16:creationId xmlns:a16="http://schemas.microsoft.com/office/drawing/2014/main" id="{983184B7-CE00-4802-8E5E-C5D795BB7353}"/>
              </a:ext>
            </a:extLst>
          </p:cNvPr>
          <p:cNvSpPr txBox="1"/>
          <p:nvPr/>
        </p:nvSpPr>
        <p:spPr>
          <a:xfrm>
            <a:off x="1608620" y="204445"/>
            <a:ext cx="5991498" cy="507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algn="r">
              <a:lnSpc>
                <a:spcPct val="90000"/>
              </a:lnSpc>
              <a:buClr>
                <a:srgbClr val="0054BC"/>
              </a:buClr>
              <a:buSzPts val="1400"/>
              <a:buFont typeface="Work Sans SemiBold"/>
              <a:buNone/>
              <a:defRPr sz="3000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1pPr>
            <a:lvl2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2pPr>
            <a:lvl3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3pPr>
            <a:lvl4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4pPr>
            <a:lvl5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5pPr>
            <a:lvl6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6pPr>
            <a:lvl7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7pPr>
            <a:lvl8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8pPr>
            <a:lvl9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9pPr>
          </a:lstStyle>
          <a:p>
            <a:pPr algn="ctr"/>
            <a:r>
              <a:rPr lang="es-ES" dirty="0">
                <a:latin typeface="Calibri" panose="020F0502020204030204" pitchFamily="34" charset="0"/>
                <a:cs typeface="Calibri" panose="020F0502020204030204" pitchFamily="34" charset="0"/>
              </a:rPr>
              <a:t>II. </a:t>
            </a:r>
            <a:r>
              <a:rPr lang="es-ES" sz="2800" dirty="0">
                <a:latin typeface="Calibri" panose="020F0502020204030204" pitchFamily="34" charset="0"/>
                <a:cs typeface="Calibri" panose="020F0502020204030204" pitchFamily="34" charset="0"/>
              </a:rPr>
              <a:t>LINEA DE TIEMPO DEL PROCESO</a:t>
            </a:r>
          </a:p>
        </p:txBody>
      </p:sp>
      <p:sp>
        <p:nvSpPr>
          <p:cNvPr id="27" name="Círculo: vacío 26">
            <a:extLst>
              <a:ext uri="{FF2B5EF4-FFF2-40B4-BE49-F238E27FC236}">
                <a16:creationId xmlns:a16="http://schemas.microsoft.com/office/drawing/2014/main" id="{4B59B9FF-2DB8-411E-8B06-95CD7F34D5F4}"/>
              </a:ext>
            </a:extLst>
          </p:cNvPr>
          <p:cNvSpPr/>
          <p:nvPr/>
        </p:nvSpPr>
        <p:spPr>
          <a:xfrm>
            <a:off x="981740" y="2456124"/>
            <a:ext cx="191386" cy="174543"/>
          </a:xfrm>
          <a:prstGeom prst="donut">
            <a:avLst/>
          </a:prstGeom>
          <a:solidFill>
            <a:srgbClr val="F9862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chemeClr val="tx1"/>
              </a:solidFill>
            </a:endParaRPr>
          </a:p>
        </p:txBody>
      </p:sp>
      <p:sp>
        <p:nvSpPr>
          <p:cNvPr id="29" name="Círculo: vacío 28">
            <a:extLst>
              <a:ext uri="{FF2B5EF4-FFF2-40B4-BE49-F238E27FC236}">
                <a16:creationId xmlns:a16="http://schemas.microsoft.com/office/drawing/2014/main" id="{EA31FA44-EAC5-4BBA-AD0B-E98B83854003}"/>
              </a:ext>
            </a:extLst>
          </p:cNvPr>
          <p:cNvSpPr/>
          <p:nvPr/>
        </p:nvSpPr>
        <p:spPr>
          <a:xfrm>
            <a:off x="2831366" y="2468053"/>
            <a:ext cx="191386" cy="174543"/>
          </a:xfrm>
          <a:prstGeom prst="donut">
            <a:avLst/>
          </a:prstGeom>
          <a:solidFill>
            <a:srgbClr val="F9862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chemeClr val="tx1"/>
              </a:solidFill>
            </a:endParaRPr>
          </a:p>
        </p:txBody>
      </p:sp>
      <p:sp>
        <p:nvSpPr>
          <p:cNvPr id="30" name="Círculo: vacío 29">
            <a:extLst>
              <a:ext uri="{FF2B5EF4-FFF2-40B4-BE49-F238E27FC236}">
                <a16:creationId xmlns:a16="http://schemas.microsoft.com/office/drawing/2014/main" id="{590BE639-599B-4860-A432-940B57DA6F4F}"/>
              </a:ext>
            </a:extLst>
          </p:cNvPr>
          <p:cNvSpPr/>
          <p:nvPr/>
        </p:nvSpPr>
        <p:spPr>
          <a:xfrm>
            <a:off x="4019109" y="2459221"/>
            <a:ext cx="191386" cy="174543"/>
          </a:xfrm>
          <a:prstGeom prst="donut">
            <a:avLst/>
          </a:prstGeom>
          <a:solidFill>
            <a:srgbClr val="F9862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chemeClr val="tx1"/>
              </a:solidFill>
            </a:endParaRPr>
          </a:p>
        </p:txBody>
      </p:sp>
      <p:sp>
        <p:nvSpPr>
          <p:cNvPr id="33" name="Círculo: vacío 32">
            <a:extLst>
              <a:ext uri="{FF2B5EF4-FFF2-40B4-BE49-F238E27FC236}">
                <a16:creationId xmlns:a16="http://schemas.microsoft.com/office/drawing/2014/main" id="{03FF11E2-0E6C-4D9D-A5E1-92CCBC9C9FC2}"/>
              </a:ext>
            </a:extLst>
          </p:cNvPr>
          <p:cNvSpPr/>
          <p:nvPr/>
        </p:nvSpPr>
        <p:spPr>
          <a:xfrm>
            <a:off x="7207537" y="2459638"/>
            <a:ext cx="191386" cy="174543"/>
          </a:xfrm>
          <a:prstGeom prst="donut">
            <a:avLst/>
          </a:prstGeom>
          <a:solidFill>
            <a:srgbClr val="F9862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chemeClr val="tx1"/>
              </a:solidFill>
            </a:endParaRPr>
          </a:p>
        </p:txBody>
      </p:sp>
      <p:sp>
        <p:nvSpPr>
          <p:cNvPr id="35" name="CuadroTexto 34">
            <a:extLst>
              <a:ext uri="{FF2B5EF4-FFF2-40B4-BE49-F238E27FC236}">
                <a16:creationId xmlns:a16="http://schemas.microsoft.com/office/drawing/2014/main" id="{9CF3E1BE-86A5-4521-BB6F-1470FB74740E}"/>
              </a:ext>
            </a:extLst>
          </p:cNvPr>
          <p:cNvSpPr txBox="1"/>
          <p:nvPr/>
        </p:nvSpPr>
        <p:spPr>
          <a:xfrm>
            <a:off x="546246" y="3069265"/>
            <a:ext cx="1062374" cy="553998"/>
          </a:xfrm>
          <a:prstGeom prst="rect">
            <a:avLst/>
          </a:prstGeom>
          <a:noFill/>
          <a:ln w="25400" cmpd="sng">
            <a:solidFill>
              <a:schemeClr val="accent6"/>
            </a:solidFill>
          </a:ln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algn="ctr">
              <a:defRPr sz="1200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sz="1000" dirty="0"/>
              <a:t>Aprobación de Condiciones al Originador</a:t>
            </a:r>
          </a:p>
        </p:txBody>
      </p:sp>
      <p:cxnSp>
        <p:nvCxnSpPr>
          <p:cNvPr id="37" name="Conector recto 36">
            <a:extLst>
              <a:ext uri="{FF2B5EF4-FFF2-40B4-BE49-F238E27FC236}">
                <a16:creationId xmlns:a16="http://schemas.microsoft.com/office/drawing/2014/main" id="{F866F813-1669-43AD-8611-1699DF7570AC}"/>
              </a:ext>
            </a:extLst>
          </p:cNvPr>
          <p:cNvCxnSpPr>
            <a:stCxn id="27" idx="4"/>
          </p:cNvCxnSpPr>
          <p:nvPr/>
        </p:nvCxnSpPr>
        <p:spPr>
          <a:xfrm>
            <a:off x="1077433" y="2630667"/>
            <a:ext cx="0" cy="55201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ector recto 38">
            <a:extLst>
              <a:ext uri="{FF2B5EF4-FFF2-40B4-BE49-F238E27FC236}">
                <a16:creationId xmlns:a16="http://schemas.microsoft.com/office/drawing/2014/main" id="{63838EFA-080D-41DB-B99F-9562CB8A0076}"/>
              </a:ext>
            </a:extLst>
          </p:cNvPr>
          <p:cNvCxnSpPr>
            <a:cxnSpLocks/>
            <a:stCxn id="27" idx="4"/>
            <a:endCxn id="35" idx="0"/>
          </p:cNvCxnSpPr>
          <p:nvPr/>
        </p:nvCxnSpPr>
        <p:spPr>
          <a:xfrm>
            <a:off x="1077433" y="2630667"/>
            <a:ext cx="0" cy="438598"/>
          </a:xfrm>
          <a:prstGeom prst="line">
            <a:avLst/>
          </a:prstGeom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42" name="Conector recto 41">
            <a:extLst>
              <a:ext uri="{FF2B5EF4-FFF2-40B4-BE49-F238E27FC236}">
                <a16:creationId xmlns:a16="http://schemas.microsoft.com/office/drawing/2014/main" id="{A548B337-7E29-4AAC-A743-856DA25E915B}"/>
              </a:ext>
            </a:extLst>
          </p:cNvPr>
          <p:cNvCxnSpPr>
            <a:cxnSpLocks/>
            <a:stCxn id="43" idx="2"/>
          </p:cNvCxnSpPr>
          <p:nvPr/>
        </p:nvCxnSpPr>
        <p:spPr>
          <a:xfrm>
            <a:off x="1866018" y="1791688"/>
            <a:ext cx="0" cy="742036"/>
          </a:xfrm>
          <a:prstGeom prst="line">
            <a:avLst/>
          </a:prstGeom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43" name="CuadroTexto 42">
            <a:extLst>
              <a:ext uri="{FF2B5EF4-FFF2-40B4-BE49-F238E27FC236}">
                <a16:creationId xmlns:a16="http://schemas.microsoft.com/office/drawing/2014/main" id="{8424B331-7AB4-41A2-A094-A9A2F58E9121}"/>
              </a:ext>
            </a:extLst>
          </p:cNvPr>
          <p:cNvSpPr txBox="1"/>
          <p:nvPr/>
        </p:nvSpPr>
        <p:spPr>
          <a:xfrm>
            <a:off x="1100474" y="929914"/>
            <a:ext cx="1531087" cy="861774"/>
          </a:xfrm>
          <a:prstGeom prst="rect">
            <a:avLst/>
          </a:prstGeom>
          <a:noFill/>
          <a:ln w="25400" cmpd="sng">
            <a:solidFill>
              <a:schemeClr val="accent6"/>
            </a:solidFill>
          </a:ln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algn="ctr">
              <a:defRPr sz="1200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sz="1000" dirty="0"/>
              <a:t> Publicación del acuerdo de la IP, los estudios y la minuta  (2 meses)</a:t>
            </a:r>
          </a:p>
          <a:p>
            <a:r>
              <a:rPr lang="es-ES" sz="1000" dirty="0"/>
              <a:t>Art. 2.2.2.1.5.11 Decreto 1082/2015</a:t>
            </a:r>
          </a:p>
        </p:txBody>
      </p:sp>
      <p:sp>
        <p:nvSpPr>
          <p:cNvPr id="45" name="CuadroTexto 44">
            <a:extLst>
              <a:ext uri="{FF2B5EF4-FFF2-40B4-BE49-F238E27FC236}">
                <a16:creationId xmlns:a16="http://schemas.microsoft.com/office/drawing/2014/main" id="{E4C42AFC-0421-45A8-BB49-AEBD1D9229A8}"/>
              </a:ext>
            </a:extLst>
          </p:cNvPr>
          <p:cNvSpPr txBox="1"/>
          <p:nvPr/>
        </p:nvSpPr>
        <p:spPr>
          <a:xfrm>
            <a:off x="2139807" y="3062543"/>
            <a:ext cx="1581581" cy="707886"/>
          </a:xfrm>
          <a:prstGeom prst="rect">
            <a:avLst/>
          </a:prstGeom>
          <a:noFill/>
          <a:ln w="25400" cmpd="sng">
            <a:solidFill>
              <a:schemeClr val="accent6"/>
            </a:solidFill>
          </a:ln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algn="ctr">
              <a:defRPr sz="1200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sz="1000" b="1" dirty="0"/>
              <a:t>Invitación a Precalificar </a:t>
            </a:r>
            <a:r>
              <a:rPr lang="es-ES" sz="1000" dirty="0"/>
              <a:t>(terceros manifiesten interés en ejecutar el proyecto)</a:t>
            </a:r>
          </a:p>
        </p:txBody>
      </p:sp>
      <p:cxnSp>
        <p:nvCxnSpPr>
          <p:cNvPr id="46" name="Conector recto 45">
            <a:extLst>
              <a:ext uri="{FF2B5EF4-FFF2-40B4-BE49-F238E27FC236}">
                <a16:creationId xmlns:a16="http://schemas.microsoft.com/office/drawing/2014/main" id="{BA3732D9-EAE1-4FDC-8138-D5E05A476116}"/>
              </a:ext>
            </a:extLst>
          </p:cNvPr>
          <p:cNvCxnSpPr>
            <a:cxnSpLocks/>
            <a:stCxn id="29" idx="4"/>
            <a:endCxn id="45" idx="0"/>
          </p:cNvCxnSpPr>
          <p:nvPr/>
        </p:nvCxnSpPr>
        <p:spPr>
          <a:xfrm>
            <a:off x="2927059" y="2642596"/>
            <a:ext cx="3539" cy="419947"/>
          </a:xfrm>
          <a:prstGeom prst="line">
            <a:avLst/>
          </a:prstGeom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47" name="Conector recto 46">
            <a:extLst>
              <a:ext uri="{FF2B5EF4-FFF2-40B4-BE49-F238E27FC236}">
                <a16:creationId xmlns:a16="http://schemas.microsoft.com/office/drawing/2014/main" id="{84325EAA-3251-4253-AF17-743EE00C9D55}"/>
              </a:ext>
            </a:extLst>
          </p:cNvPr>
          <p:cNvCxnSpPr>
            <a:cxnSpLocks/>
          </p:cNvCxnSpPr>
          <p:nvPr/>
        </p:nvCxnSpPr>
        <p:spPr>
          <a:xfrm flipH="1">
            <a:off x="4186344" y="1853806"/>
            <a:ext cx="615133" cy="614247"/>
          </a:xfrm>
          <a:prstGeom prst="line">
            <a:avLst/>
          </a:prstGeom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50" name="Conector recto 49">
            <a:extLst>
              <a:ext uri="{FF2B5EF4-FFF2-40B4-BE49-F238E27FC236}">
                <a16:creationId xmlns:a16="http://schemas.microsoft.com/office/drawing/2014/main" id="{AA72F9ED-7366-4DDE-8C7E-C51ECC7E91C9}"/>
              </a:ext>
            </a:extLst>
          </p:cNvPr>
          <p:cNvCxnSpPr>
            <a:cxnSpLocks/>
          </p:cNvCxnSpPr>
          <p:nvPr/>
        </p:nvCxnSpPr>
        <p:spPr>
          <a:xfrm flipH="1" flipV="1">
            <a:off x="4164420" y="2644200"/>
            <a:ext cx="648587" cy="594979"/>
          </a:xfrm>
          <a:prstGeom prst="line">
            <a:avLst/>
          </a:prstGeom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54" name="CuadroTexto 53">
            <a:extLst>
              <a:ext uri="{FF2B5EF4-FFF2-40B4-BE49-F238E27FC236}">
                <a16:creationId xmlns:a16="http://schemas.microsoft.com/office/drawing/2014/main" id="{8AFB1B2C-FD4C-419E-961E-2B8D68131DE3}"/>
              </a:ext>
            </a:extLst>
          </p:cNvPr>
          <p:cNvSpPr txBox="1"/>
          <p:nvPr/>
        </p:nvSpPr>
        <p:spPr>
          <a:xfrm>
            <a:off x="4572000" y="3274069"/>
            <a:ext cx="1581581" cy="400110"/>
          </a:xfrm>
          <a:prstGeom prst="rect">
            <a:avLst/>
          </a:prstGeom>
          <a:noFill/>
          <a:ln w="25400" cmpd="sng">
            <a:solidFill>
              <a:schemeClr val="accent6"/>
            </a:solidFill>
          </a:ln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algn="ctr">
              <a:defRPr sz="1200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sz="1000" b="1" u="sng" dirty="0"/>
              <a:t>NO</a:t>
            </a:r>
            <a:r>
              <a:rPr lang="es-ES" sz="1000" b="1" dirty="0"/>
              <a:t> </a:t>
            </a:r>
            <a:r>
              <a:rPr lang="es-ES" sz="1000" i="0" dirty="0"/>
              <a:t>se presentan </a:t>
            </a:r>
            <a:r>
              <a:rPr lang="es-ES" sz="1000" dirty="0"/>
              <a:t>Manifestación de Interés</a:t>
            </a:r>
          </a:p>
        </p:txBody>
      </p:sp>
      <p:sp>
        <p:nvSpPr>
          <p:cNvPr id="55" name="CuadroTexto 54">
            <a:extLst>
              <a:ext uri="{FF2B5EF4-FFF2-40B4-BE49-F238E27FC236}">
                <a16:creationId xmlns:a16="http://schemas.microsoft.com/office/drawing/2014/main" id="{F99B420D-5F54-49D5-B229-7B530D904AF1}"/>
              </a:ext>
            </a:extLst>
          </p:cNvPr>
          <p:cNvSpPr txBox="1"/>
          <p:nvPr/>
        </p:nvSpPr>
        <p:spPr>
          <a:xfrm>
            <a:off x="6997997" y="3598178"/>
            <a:ext cx="1581581" cy="923330"/>
          </a:xfrm>
          <a:prstGeom prst="rect">
            <a:avLst/>
          </a:prstGeom>
          <a:noFill/>
          <a:ln w="25400" cmpd="sng">
            <a:solidFill>
              <a:schemeClr val="accent6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000" i="1" dirty="0">
                <a:latin typeface="Calibri" panose="020F0502020204030204" pitchFamily="34" charset="0"/>
                <a:cs typeface="Calibri" panose="020F0502020204030204" pitchFamily="34" charset="0"/>
              </a:rPr>
              <a:t>Se podrá </a:t>
            </a:r>
            <a:r>
              <a:rPr lang="es-ES" sz="1000" b="1" i="1" dirty="0">
                <a:latin typeface="Calibri" panose="020F0502020204030204" pitchFamily="34" charset="0"/>
                <a:cs typeface="Calibri" panose="020F0502020204030204" pitchFamily="34" charset="0"/>
              </a:rPr>
              <a:t>contratar con el originador de manera directa </a:t>
            </a:r>
            <a:r>
              <a:rPr lang="es-ES" sz="1000" i="1" dirty="0">
                <a:latin typeface="Calibri" panose="020F0502020204030204" pitchFamily="34" charset="0"/>
                <a:cs typeface="Calibri" panose="020F0502020204030204" pitchFamily="34" charset="0"/>
              </a:rPr>
              <a:t>en las condiciones pactadas</a:t>
            </a:r>
            <a:r>
              <a:rPr lang="es-ES" sz="1200" i="1" dirty="0">
                <a:latin typeface="Calibri" panose="020F0502020204030204" pitchFamily="34" charset="0"/>
                <a:cs typeface="Calibri" panose="020F0502020204030204" pitchFamily="34" charset="0"/>
              </a:rPr>
              <a:t>.(aprobación Factibilidad)</a:t>
            </a:r>
          </a:p>
        </p:txBody>
      </p:sp>
      <p:cxnSp>
        <p:nvCxnSpPr>
          <p:cNvPr id="56" name="Conector recto 55">
            <a:extLst>
              <a:ext uri="{FF2B5EF4-FFF2-40B4-BE49-F238E27FC236}">
                <a16:creationId xmlns:a16="http://schemas.microsoft.com/office/drawing/2014/main" id="{201DD0FA-07EC-4942-A5C6-5A1E154D8CD0}"/>
              </a:ext>
            </a:extLst>
          </p:cNvPr>
          <p:cNvCxnSpPr>
            <a:cxnSpLocks/>
            <a:stCxn id="55" idx="1"/>
            <a:endCxn id="54" idx="3"/>
          </p:cNvCxnSpPr>
          <p:nvPr/>
        </p:nvCxnSpPr>
        <p:spPr>
          <a:xfrm flipH="1" flipV="1">
            <a:off x="6153581" y="3474124"/>
            <a:ext cx="844416" cy="585719"/>
          </a:xfrm>
          <a:prstGeom prst="line">
            <a:avLst/>
          </a:prstGeom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68" name="CuadroTexto 67">
            <a:extLst>
              <a:ext uri="{FF2B5EF4-FFF2-40B4-BE49-F238E27FC236}">
                <a16:creationId xmlns:a16="http://schemas.microsoft.com/office/drawing/2014/main" id="{D213478F-1FB8-44C2-995D-E0264D7C4068}"/>
              </a:ext>
            </a:extLst>
          </p:cNvPr>
          <p:cNvSpPr txBox="1"/>
          <p:nvPr/>
        </p:nvSpPr>
        <p:spPr>
          <a:xfrm>
            <a:off x="4572000" y="1436251"/>
            <a:ext cx="1581581" cy="400110"/>
          </a:xfrm>
          <a:prstGeom prst="rect">
            <a:avLst/>
          </a:prstGeom>
          <a:noFill/>
          <a:ln w="25400" cmpd="sng">
            <a:solidFill>
              <a:schemeClr val="accent6"/>
            </a:solidFill>
          </a:ln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algn="ctr">
              <a:defRPr sz="1200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sz="1000" b="1" i="0" u="sng" dirty="0"/>
              <a:t>SI</a:t>
            </a:r>
            <a:r>
              <a:rPr lang="es-ES" sz="1000" dirty="0"/>
              <a:t> se presenta al </a:t>
            </a:r>
            <a:r>
              <a:rPr lang="es-ES" sz="1000" b="1" dirty="0"/>
              <a:t>menos (1) </a:t>
            </a:r>
            <a:r>
              <a:rPr lang="es-ES" sz="1000" dirty="0"/>
              <a:t>Manifestación de Interés</a:t>
            </a:r>
          </a:p>
        </p:txBody>
      </p:sp>
      <p:sp>
        <p:nvSpPr>
          <p:cNvPr id="84" name="CuadroTexto 83">
            <a:extLst>
              <a:ext uri="{FF2B5EF4-FFF2-40B4-BE49-F238E27FC236}">
                <a16:creationId xmlns:a16="http://schemas.microsoft.com/office/drawing/2014/main" id="{B70D7916-8A0B-4234-B264-B5CD305A5759}"/>
              </a:ext>
            </a:extLst>
          </p:cNvPr>
          <p:cNvSpPr txBox="1"/>
          <p:nvPr/>
        </p:nvSpPr>
        <p:spPr>
          <a:xfrm>
            <a:off x="8052493" y="2061731"/>
            <a:ext cx="1087960" cy="1169551"/>
          </a:xfrm>
          <a:prstGeom prst="rect">
            <a:avLst/>
          </a:prstGeom>
          <a:noFill/>
          <a:ln w="25400" cmpd="sng">
            <a:solidFill>
              <a:schemeClr val="accent6"/>
            </a:solidFill>
          </a:ln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algn="ctr">
              <a:defRPr sz="1200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sz="1000" b="1" dirty="0"/>
              <a:t>Apertura del Proceso</a:t>
            </a:r>
            <a:r>
              <a:rPr lang="es-ES" sz="1000" dirty="0"/>
              <a:t> de Selección Abreviada de Menor Cuantía con Precalificación</a:t>
            </a:r>
          </a:p>
        </p:txBody>
      </p:sp>
      <p:cxnSp>
        <p:nvCxnSpPr>
          <p:cNvPr id="85" name="Conector recto 84">
            <a:extLst>
              <a:ext uri="{FF2B5EF4-FFF2-40B4-BE49-F238E27FC236}">
                <a16:creationId xmlns:a16="http://schemas.microsoft.com/office/drawing/2014/main" id="{9C794880-9D13-43AF-82C1-5F097B6D0B29}"/>
              </a:ext>
            </a:extLst>
          </p:cNvPr>
          <p:cNvCxnSpPr>
            <a:cxnSpLocks/>
            <a:stCxn id="86" idx="2"/>
            <a:endCxn id="33" idx="0"/>
          </p:cNvCxnSpPr>
          <p:nvPr/>
        </p:nvCxnSpPr>
        <p:spPr>
          <a:xfrm>
            <a:off x="7303230" y="1914799"/>
            <a:ext cx="0" cy="544839"/>
          </a:xfrm>
          <a:prstGeom prst="line">
            <a:avLst/>
          </a:prstGeom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86" name="CuadroTexto 85">
            <a:extLst>
              <a:ext uri="{FF2B5EF4-FFF2-40B4-BE49-F238E27FC236}">
                <a16:creationId xmlns:a16="http://schemas.microsoft.com/office/drawing/2014/main" id="{EAE08F1B-CEA0-4D8C-836E-B553340C4FE4}"/>
              </a:ext>
            </a:extLst>
          </p:cNvPr>
          <p:cNvSpPr txBox="1"/>
          <p:nvPr/>
        </p:nvSpPr>
        <p:spPr>
          <a:xfrm>
            <a:off x="6512439" y="1360801"/>
            <a:ext cx="1581581" cy="553998"/>
          </a:xfrm>
          <a:prstGeom prst="rect">
            <a:avLst/>
          </a:prstGeom>
          <a:noFill/>
          <a:ln w="25400" cmpd="sng">
            <a:solidFill>
              <a:schemeClr val="accent6"/>
            </a:solidFill>
          </a:ln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algn="ctr">
              <a:defRPr sz="1200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sz="1000" dirty="0"/>
              <a:t>Conforma la </a:t>
            </a:r>
            <a:r>
              <a:rPr lang="es-ES" sz="1000" b="1" dirty="0"/>
              <a:t>Lista de Precalificado</a:t>
            </a:r>
            <a:r>
              <a:rPr lang="es-ES" sz="1000" dirty="0"/>
              <a:t>s incluyendo al Originador</a:t>
            </a:r>
          </a:p>
        </p:txBody>
      </p:sp>
      <p:sp>
        <p:nvSpPr>
          <p:cNvPr id="88" name="Círculo: vacío 87">
            <a:extLst>
              <a:ext uri="{FF2B5EF4-FFF2-40B4-BE49-F238E27FC236}">
                <a16:creationId xmlns:a16="http://schemas.microsoft.com/office/drawing/2014/main" id="{13DF4911-0F7B-4292-8BF0-7A4EE9A82FA3}"/>
              </a:ext>
            </a:extLst>
          </p:cNvPr>
          <p:cNvSpPr/>
          <p:nvPr/>
        </p:nvSpPr>
        <p:spPr>
          <a:xfrm>
            <a:off x="1759471" y="2469657"/>
            <a:ext cx="191386" cy="174543"/>
          </a:xfrm>
          <a:prstGeom prst="donut">
            <a:avLst/>
          </a:prstGeom>
          <a:solidFill>
            <a:srgbClr val="F9862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chemeClr val="tx1"/>
              </a:solidFill>
            </a:endParaRPr>
          </a:p>
        </p:txBody>
      </p:sp>
      <p:cxnSp>
        <p:nvCxnSpPr>
          <p:cNvPr id="89" name="Conector recto 88">
            <a:extLst>
              <a:ext uri="{FF2B5EF4-FFF2-40B4-BE49-F238E27FC236}">
                <a16:creationId xmlns:a16="http://schemas.microsoft.com/office/drawing/2014/main" id="{85B7E9D9-3560-4D55-A96D-E18B08A05644}"/>
              </a:ext>
            </a:extLst>
          </p:cNvPr>
          <p:cNvCxnSpPr>
            <a:cxnSpLocks/>
          </p:cNvCxnSpPr>
          <p:nvPr/>
        </p:nvCxnSpPr>
        <p:spPr>
          <a:xfrm>
            <a:off x="546246" y="2489218"/>
            <a:ext cx="0" cy="174543"/>
          </a:xfrm>
          <a:prstGeom prst="line">
            <a:avLst/>
          </a:prstGeom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94" name="Conector recto 93">
            <a:extLst>
              <a:ext uri="{FF2B5EF4-FFF2-40B4-BE49-F238E27FC236}">
                <a16:creationId xmlns:a16="http://schemas.microsoft.com/office/drawing/2014/main" id="{628B489E-6591-4CAE-B9A1-1392D2D3FEFD}"/>
              </a:ext>
            </a:extLst>
          </p:cNvPr>
          <p:cNvCxnSpPr>
            <a:cxnSpLocks/>
            <a:stCxn id="86" idx="1"/>
            <a:endCxn id="68" idx="3"/>
          </p:cNvCxnSpPr>
          <p:nvPr/>
        </p:nvCxnSpPr>
        <p:spPr>
          <a:xfrm flipH="1" flipV="1">
            <a:off x="6153581" y="1636306"/>
            <a:ext cx="358858" cy="1494"/>
          </a:xfrm>
          <a:prstGeom prst="line">
            <a:avLst/>
          </a:prstGeom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28" name="Conector recto de flecha 27">
            <a:extLst>
              <a:ext uri="{FF2B5EF4-FFF2-40B4-BE49-F238E27FC236}">
                <a16:creationId xmlns:a16="http://schemas.microsoft.com/office/drawing/2014/main" id="{DA721C4E-99F3-4674-8136-18A3F37F6F23}"/>
              </a:ext>
            </a:extLst>
          </p:cNvPr>
          <p:cNvCxnSpPr>
            <a:cxnSpLocks/>
            <a:stCxn id="33" idx="6"/>
          </p:cNvCxnSpPr>
          <p:nvPr/>
        </p:nvCxnSpPr>
        <p:spPr>
          <a:xfrm flipV="1">
            <a:off x="7398923" y="2533724"/>
            <a:ext cx="653570" cy="1318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15972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827DC4F-06EC-423A-BFAA-CC8F44EF4F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2389" y="641471"/>
            <a:ext cx="6465722" cy="640198"/>
          </a:xfrm>
        </p:spPr>
        <p:txBody>
          <a:bodyPr/>
          <a:lstStyle/>
          <a:p>
            <a:pPr algn="ctr"/>
            <a:r>
              <a:rPr lang="es-ES" dirty="0">
                <a:latin typeface="Calibri" panose="020F0502020204030204" pitchFamily="34" charset="0"/>
                <a:cs typeface="Calibri" panose="020F0502020204030204" pitchFamily="34" charset="0"/>
              </a:rPr>
              <a:t>Contenido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9C60FEAB-BAF0-4135-84CE-4B56FCABAAF9}"/>
              </a:ext>
            </a:extLst>
          </p:cNvPr>
          <p:cNvSpPr txBox="1"/>
          <p:nvPr/>
        </p:nvSpPr>
        <p:spPr>
          <a:xfrm>
            <a:off x="1013638" y="1563849"/>
            <a:ext cx="59896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dirty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. Alcance del Proyecto – Objeto </a:t>
            </a:r>
          </a:p>
          <a:p>
            <a:r>
              <a:rPr lang="es-ES" sz="1600" dirty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I. Línea de Tiempo del Proceso</a:t>
            </a:r>
          </a:p>
        </p:txBody>
      </p:sp>
    </p:spTree>
    <p:extLst>
      <p:ext uri="{BB962C8B-B14F-4D97-AF65-F5344CB8AC3E}">
        <p14:creationId xmlns:p14="http://schemas.microsoft.com/office/powerpoint/2010/main" val="30041327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8">
            <a:extLst>
              <a:ext uri="{FF2B5EF4-FFF2-40B4-BE49-F238E27FC236}">
                <a16:creationId xmlns:a16="http://schemas.microsoft.com/office/drawing/2014/main" id="{E46A5A76-FC8C-4600-9F1F-561BB0C53FE1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632056" y="33552"/>
            <a:ext cx="6503633" cy="64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algn="ctr">
              <a:lnSpc>
                <a:spcPct val="90000"/>
              </a:lnSpc>
              <a:buClr>
                <a:srgbClr val="0054BC"/>
              </a:buClr>
              <a:buSzPts val="1400"/>
              <a:buFont typeface="Work Sans SemiBold"/>
              <a:buNone/>
              <a:defRPr sz="3000">
                <a:solidFill>
                  <a:srgbClr val="0054BC"/>
                </a:solidFill>
                <a:latin typeface="Calibri" panose="020F0502020204030204" pitchFamily="34" charset="0"/>
                <a:ea typeface="Work Sans Light"/>
                <a:cs typeface="Calibri" panose="020F0502020204030204" pitchFamily="34" charset="0"/>
                <a:sym typeface="Work Sans Light"/>
              </a:defRPr>
            </a:lvl1pPr>
            <a:lvl2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2pPr>
            <a:lvl3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3pPr>
            <a:lvl4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4pPr>
            <a:lvl5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5pPr>
            <a:lvl6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6pPr>
            <a:lvl7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7pPr>
            <a:lvl8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8pPr>
            <a:lvl9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9pPr>
          </a:lstStyle>
          <a:p>
            <a:r>
              <a:rPr lang="es-ES" dirty="0"/>
              <a:t>I. Alcance del proyecto</a:t>
            </a:r>
            <a:endParaRPr lang="es-ES_tradnl" dirty="0">
              <a:sym typeface="Museo Sans 500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33F70D42-065E-4040-AC38-43D2B71E0D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2019" y="600075"/>
            <a:ext cx="5581650" cy="3943350"/>
          </a:xfrm>
          <a:prstGeom prst="rect">
            <a:avLst/>
          </a:prstGeom>
        </p:spPr>
      </p:pic>
      <p:graphicFrame>
        <p:nvGraphicFramePr>
          <p:cNvPr id="10" name="Tabla 3">
            <a:extLst>
              <a:ext uri="{FF2B5EF4-FFF2-40B4-BE49-F238E27FC236}">
                <a16:creationId xmlns:a16="http://schemas.microsoft.com/office/drawing/2014/main" id="{05B8A1EF-4078-44F6-8BE1-795BD83B98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6209315"/>
              </p:ext>
            </p:extLst>
          </p:nvPr>
        </p:nvGraphicFramePr>
        <p:xfrm>
          <a:off x="5945132" y="758460"/>
          <a:ext cx="2986849" cy="1521896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2986849">
                  <a:extLst>
                    <a:ext uri="{9D8B030D-6E8A-4147-A177-3AD203B41FA5}">
                      <a16:colId xmlns:a16="http://schemas.microsoft.com/office/drawing/2014/main" val="3587548104"/>
                    </a:ext>
                  </a:extLst>
                </a:gridCol>
              </a:tblGrid>
              <a:tr h="32390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s-CO" sz="1200" b="1" i="0" u="none" strike="noStrike" cap="none" dirty="0">
                          <a:solidFill>
                            <a:srgbClr val="FFFFFF"/>
                          </a:solidFill>
                          <a:effectLst>
                            <a:outerShdw dist="38096" dir="2700000">
                              <a:srgbClr val="000000"/>
                            </a:outerShdw>
                          </a:effectLst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ORIGINADO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70563841"/>
                  </a:ext>
                </a:extLst>
              </a:tr>
              <a:tr h="1197994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s-CO" sz="1200" b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STRUCTURA PLURAL </a:t>
                      </a:r>
                      <a:r>
                        <a:rPr lang="es-CO" sz="1200" b="0" kern="12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LO SUR SAS: 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s-CO" sz="1200" b="0" kern="1200" baseline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CO" sz="1100" b="0" kern="12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CAY SA, (25%)  </a:t>
                      </a:r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CO" sz="1100" b="0" kern="12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HERPA SAS (25%),  </a:t>
                      </a:r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CO" sz="1100" b="0" kern="12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VIMENTOS COLOMBIA SAS (25%), </a:t>
                      </a:r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CO" sz="1100" b="0" kern="12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RIO ALBERTO HUERTAS COTES (25%)</a:t>
                      </a:r>
                      <a:endParaRPr lang="es-MX" sz="11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4463663"/>
                  </a:ext>
                </a:extLst>
              </a:tr>
            </a:tbl>
          </a:graphicData>
        </a:graphic>
      </p:graphicFrame>
      <p:graphicFrame>
        <p:nvGraphicFramePr>
          <p:cNvPr id="12" name="Tabla 21">
            <a:extLst>
              <a:ext uri="{FF2B5EF4-FFF2-40B4-BE49-F238E27FC236}">
                <a16:creationId xmlns:a16="http://schemas.microsoft.com/office/drawing/2014/main" id="{D10385C8-EB10-40F1-B79B-D95E5590A8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4275558"/>
              </p:ext>
            </p:extLst>
          </p:nvPr>
        </p:nvGraphicFramePr>
        <p:xfrm>
          <a:off x="5945131" y="2445487"/>
          <a:ext cx="2986849" cy="743624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2986849">
                  <a:extLst>
                    <a:ext uri="{9D8B030D-6E8A-4147-A177-3AD203B41FA5}">
                      <a16:colId xmlns:a16="http://schemas.microsoft.com/office/drawing/2014/main" val="953037661"/>
                    </a:ext>
                  </a:extLst>
                </a:gridCol>
              </a:tblGrid>
              <a:tr h="28642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s-CO" sz="1200" b="1" dirty="0">
                          <a:solidFill>
                            <a:srgbClr val="FFFFFF"/>
                          </a:solidFill>
                          <a:effectLst>
                            <a:outerShdw dist="38096" dir="2700000">
                              <a:srgbClr val="000000"/>
                            </a:outerShdw>
                          </a:effectLst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IPO DE INICIATIVA PRIVAD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65523497"/>
                  </a:ext>
                </a:extLst>
              </a:tr>
              <a:tr h="348512"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s-CO" sz="1200" b="0" i="0" u="none" strike="noStrike" kern="1200" cap="none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No requiere desembolso de recursos públicos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2009943"/>
                  </a:ext>
                </a:extLst>
              </a:tr>
            </a:tbl>
          </a:graphicData>
        </a:graphic>
      </p:graphicFrame>
      <p:graphicFrame>
        <p:nvGraphicFramePr>
          <p:cNvPr id="14" name="Tabla 4">
            <a:extLst>
              <a:ext uri="{FF2B5EF4-FFF2-40B4-BE49-F238E27FC236}">
                <a16:creationId xmlns:a16="http://schemas.microsoft.com/office/drawing/2014/main" id="{BEAF9096-1835-4ED1-9473-C9EE2033A4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6434741"/>
              </p:ext>
            </p:extLst>
          </p:nvPr>
        </p:nvGraphicFramePr>
        <p:xfrm>
          <a:off x="5945131" y="3183779"/>
          <a:ext cx="2986850" cy="1112520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1493425">
                  <a:extLst>
                    <a:ext uri="{9D8B030D-6E8A-4147-A177-3AD203B41FA5}">
                      <a16:colId xmlns:a16="http://schemas.microsoft.com/office/drawing/2014/main" val="3020606798"/>
                    </a:ext>
                  </a:extLst>
                </a:gridCol>
                <a:gridCol w="1493425">
                  <a:extLst>
                    <a:ext uri="{9D8B030D-6E8A-4147-A177-3AD203B41FA5}">
                      <a16:colId xmlns:a16="http://schemas.microsoft.com/office/drawing/2014/main" val="221041070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algn="ctr"/>
                      <a:r>
                        <a:rPr lang="es-CO" sz="1200" b="1" i="0" u="none" strike="noStrike" cap="none" dirty="0">
                          <a:solidFill>
                            <a:srgbClr val="FFFFFF"/>
                          </a:solidFill>
                          <a:effectLst>
                            <a:outerShdw dist="38096" dir="2700000">
                              <a:srgbClr val="000000"/>
                            </a:outerShdw>
                          </a:effectLst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INVERSIÓN (Millones / </a:t>
                      </a:r>
                      <a:r>
                        <a:rPr lang="es-CO" sz="1200" b="1" i="0" u="none" strike="noStrike" cap="none" dirty="0" err="1">
                          <a:solidFill>
                            <a:srgbClr val="FFFFFF"/>
                          </a:solidFill>
                          <a:effectLst>
                            <a:outerShdw dist="38096" dir="2700000">
                              <a:srgbClr val="000000"/>
                            </a:outerShdw>
                          </a:effectLst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Cte</a:t>
                      </a:r>
                      <a:r>
                        <a:rPr lang="es-CO" sz="1200" b="1" i="0" u="none" strike="noStrike" cap="none" dirty="0">
                          <a:solidFill>
                            <a:srgbClr val="FFFFFF"/>
                          </a:solidFill>
                          <a:effectLst>
                            <a:outerShdw dist="38096" dir="2700000">
                              <a:srgbClr val="000000"/>
                            </a:outerShdw>
                          </a:effectLst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 Dic. 2019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04647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CO" sz="1200" b="0" i="0" u="none" strike="noStrike" kern="1200" cap="none" baseline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Capex</a:t>
                      </a:r>
                      <a:endParaRPr lang="es-CO" sz="1200" b="0" i="0" u="none" strike="noStrike" kern="1200" cap="none" baseline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O" sz="1200" b="0" i="0" u="none" strike="noStrike" kern="1200" cap="none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689.85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6428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CO" sz="1200" b="0" i="0" u="none" strike="noStrike" kern="1200" cap="none" baseline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Opex</a:t>
                      </a:r>
                      <a:endParaRPr lang="es-CO" sz="1200" b="0" i="0" u="none" strike="noStrike" kern="1200" cap="none" baseline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O" sz="1200" b="0" i="0" u="none" strike="noStrike" kern="1200" cap="none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422.2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63042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168829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AutoShape 131"/>
          <p:cNvSpPr>
            <a:spLocks noChangeAspect="1" noChangeArrowheads="1" noTextEdit="1"/>
          </p:cNvSpPr>
          <p:nvPr/>
        </p:nvSpPr>
        <p:spPr bwMode="auto">
          <a:xfrm>
            <a:off x="0" y="0"/>
            <a:ext cx="9144000" cy="5148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s-CO" sz="1050"/>
          </a:p>
        </p:txBody>
      </p:sp>
      <p:pic>
        <p:nvPicPr>
          <p:cNvPr id="71" name="Imagen 7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789552"/>
            <a:ext cx="9165431" cy="5138550"/>
          </a:xfrm>
          <a:prstGeom prst="rect">
            <a:avLst/>
          </a:prstGeom>
        </p:spPr>
      </p:pic>
      <p:pic>
        <p:nvPicPr>
          <p:cNvPr id="74" name="Imagen 73"/>
          <p:cNvPicPr>
            <a:picLocks noChangeAspect="1"/>
          </p:cNvPicPr>
          <p:nvPr/>
        </p:nvPicPr>
        <p:blipFill rotWithShape="1">
          <a:blip r:embed="rId4"/>
          <a:srcRect t="2647" r="23038" b="85943"/>
          <a:stretch/>
        </p:blipFill>
        <p:spPr>
          <a:xfrm>
            <a:off x="0" y="4444004"/>
            <a:ext cx="2614613" cy="704259"/>
          </a:xfrm>
          <a:prstGeom prst="rect">
            <a:avLst/>
          </a:prstGeom>
        </p:spPr>
      </p:pic>
      <p:sp>
        <p:nvSpPr>
          <p:cNvPr id="75" name="3 Rectángulo"/>
          <p:cNvSpPr/>
          <p:nvPr/>
        </p:nvSpPr>
        <p:spPr bwMode="auto">
          <a:xfrm>
            <a:off x="0" y="4557475"/>
            <a:ext cx="2967870" cy="3849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61220" tIns="30611" rIns="61220" bIns="30611">
            <a:spAutoFit/>
          </a:bodyPr>
          <a:lstStyle/>
          <a:p>
            <a:pPr fontAlgn="ctr">
              <a:defRPr/>
            </a:pPr>
            <a:r>
              <a:rPr lang="es-ES" sz="1050" b="1" dirty="0">
                <a:solidFill>
                  <a:schemeClr val="bg1"/>
                </a:solidFill>
                <a:latin typeface="Gotham Rounded Medium" panose="02000000000000000000" pitchFamily="50" charset="0"/>
              </a:rPr>
              <a:t>24,5 Km de Doble Calzada</a:t>
            </a:r>
          </a:p>
          <a:p>
            <a:pPr fontAlgn="ctr">
              <a:defRPr/>
            </a:pPr>
            <a:r>
              <a:rPr lang="es-ES" sz="1050" b="1" dirty="0">
                <a:solidFill>
                  <a:schemeClr val="bg1"/>
                </a:solidFill>
                <a:latin typeface="Gotham Rounded Medium" panose="02000000000000000000" pitchFamily="50" charset="0"/>
              </a:rPr>
              <a:t>entre Chusacá y la Calle 13</a:t>
            </a:r>
          </a:p>
        </p:txBody>
      </p:sp>
      <p:pic>
        <p:nvPicPr>
          <p:cNvPr id="76" name="Imagen 75"/>
          <p:cNvPicPr>
            <a:picLocks noChangeAspect="1"/>
          </p:cNvPicPr>
          <p:nvPr/>
        </p:nvPicPr>
        <p:blipFill rotWithShape="1">
          <a:blip r:embed="rId4"/>
          <a:srcRect t="2647" r="23038" b="85943"/>
          <a:stretch/>
        </p:blipFill>
        <p:spPr>
          <a:xfrm>
            <a:off x="6089950" y="4444003"/>
            <a:ext cx="991134" cy="292652"/>
          </a:xfrm>
          <a:prstGeom prst="rect">
            <a:avLst/>
          </a:prstGeom>
        </p:spPr>
      </p:pic>
      <p:sp>
        <p:nvSpPr>
          <p:cNvPr id="77" name="3 Rectángulo"/>
          <p:cNvSpPr/>
          <p:nvPr/>
        </p:nvSpPr>
        <p:spPr bwMode="auto">
          <a:xfrm>
            <a:off x="6095168" y="4430467"/>
            <a:ext cx="1107401" cy="292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61220" tIns="30611" rIns="61220" bIns="30611">
            <a:spAutoFit/>
          </a:bodyPr>
          <a:lstStyle/>
          <a:p>
            <a:pPr fontAlgn="ctr">
              <a:defRPr/>
            </a:pPr>
            <a:r>
              <a:rPr lang="es-ES" sz="1500" b="1" dirty="0" err="1">
                <a:solidFill>
                  <a:schemeClr val="bg1"/>
                </a:solidFill>
                <a:latin typeface="Gotham Rounded Medium" panose="02000000000000000000" pitchFamily="50" charset="0"/>
              </a:rPr>
              <a:t>Chusacá</a:t>
            </a:r>
            <a:endParaRPr lang="es-ES" sz="1500" b="1" dirty="0">
              <a:solidFill>
                <a:schemeClr val="bg1"/>
              </a:solidFill>
              <a:latin typeface="Gotham Rounded Medium" panose="02000000000000000000" pitchFamily="50" charset="0"/>
            </a:endParaRPr>
          </a:p>
        </p:txBody>
      </p:sp>
      <p:pic>
        <p:nvPicPr>
          <p:cNvPr id="78" name="Imagen 77"/>
          <p:cNvPicPr>
            <a:picLocks noChangeAspect="1"/>
          </p:cNvPicPr>
          <p:nvPr/>
        </p:nvPicPr>
        <p:blipFill rotWithShape="1">
          <a:blip r:embed="rId4"/>
          <a:srcRect t="2647" r="23038" b="85943"/>
          <a:stretch/>
        </p:blipFill>
        <p:spPr>
          <a:xfrm>
            <a:off x="3750184" y="2462929"/>
            <a:ext cx="821816" cy="292652"/>
          </a:xfrm>
          <a:prstGeom prst="rect">
            <a:avLst/>
          </a:prstGeom>
        </p:spPr>
      </p:pic>
      <p:sp>
        <p:nvSpPr>
          <p:cNvPr id="79" name="3 Rectángulo"/>
          <p:cNvSpPr/>
          <p:nvPr/>
        </p:nvSpPr>
        <p:spPr bwMode="auto">
          <a:xfrm>
            <a:off x="3607392" y="2444230"/>
            <a:ext cx="1107401" cy="292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61220" tIns="30611" rIns="61220" bIns="30611">
            <a:spAutoFit/>
          </a:bodyPr>
          <a:lstStyle/>
          <a:p>
            <a:pPr algn="ctr" fontAlgn="ctr">
              <a:defRPr/>
            </a:pPr>
            <a:r>
              <a:rPr lang="es-ES" sz="1500" b="1" dirty="0">
                <a:solidFill>
                  <a:schemeClr val="bg1"/>
                </a:solidFill>
                <a:latin typeface="Gotham Rounded Medium" panose="02000000000000000000" pitchFamily="50" charset="0"/>
              </a:rPr>
              <a:t>Calle 13</a:t>
            </a:r>
          </a:p>
        </p:txBody>
      </p:sp>
      <p:pic>
        <p:nvPicPr>
          <p:cNvPr id="81" name="Imagen 80"/>
          <p:cNvPicPr>
            <a:picLocks noChangeAspect="1"/>
          </p:cNvPicPr>
          <p:nvPr/>
        </p:nvPicPr>
        <p:blipFill rotWithShape="1">
          <a:blip r:embed="rId4"/>
          <a:srcRect t="2647" r="23038" b="85943"/>
          <a:stretch/>
        </p:blipFill>
        <p:spPr>
          <a:xfrm>
            <a:off x="3738413" y="3803944"/>
            <a:ext cx="684362" cy="292652"/>
          </a:xfrm>
          <a:prstGeom prst="rect">
            <a:avLst/>
          </a:prstGeom>
        </p:spPr>
      </p:pic>
      <p:grpSp>
        <p:nvGrpSpPr>
          <p:cNvPr id="2" name="Grupo 1"/>
          <p:cNvGrpSpPr/>
          <p:nvPr/>
        </p:nvGrpSpPr>
        <p:grpSpPr>
          <a:xfrm>
            <a:off x="3750184" y="3800228"/>
            <a:ext cx="916406" cy="323165"/>
            <a:chOff x="5000246" y="5066972"/>
            <a:chExt cx="1221874" cy="430886"/>
          </a:xfrm>
        </p:grpSpPr>
        <p:pic>
          <p:nvPicPr>
            <p:cNvPr id="73" name="Imagen 72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912728" y="5150304"/>
              <a:ext cx="309392" cy="295002"/>
            </a:xfrm>
            <a:prstGeom prst="rect">
              <a:avLst/>
            </a:prstGeom>
          </p:spPr>
        </p:pic>
        <p:sp>
          <p:nvSpPr>
            <p:cNvPr id="80" name="CuadroTexto 79"/>
            <p:cNvSpPr txBox="1"/>
            <p:nvPr/>
          </p:nvSpPr>
          <p:spPr>
            <a:xfrm>
              <a:off x="5000246" y="5066972"/>
              <a:ext cx="929781" cy="430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500" b="1" dirty="0">
                  <a:solidFill>
                    <a:schemeClr val="bg1"/>
                  </a:solidFill>
                  <a:latin typeface="Gotham Rounded Medium" panose="02000000000000000000" pitchFamily="50" charset="0"/>
                </a:rPr>
                <a:t>Peaje</a:t>
              </a:r>
            </a:p>
          </p:txBody>
        </p:sp>
      </p:grpSp>
      <p:sp>
        <p:nvSpPr>
          <p:cNvPr id="16" name="Rectangle 8">
            <a:extLst>
              <a:ext uri="{FF2B5EF4-FFF2-40B4-BE49-F238E27FC236}">
                <a16:creationId xmlns:a16="http://schemas.microsoft.com/office/drawing/2014/main" id="{4877FA85-2375-4094-9FBA-34D90FA80CAA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632056" y="33552"/>
            <a:ext cx="6503633" cy="64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algn="ctr">
              <a:lnSpc>
                <a:spcPct val="90000"/>
              </a:lnSpc>
              <a:buClr>
                <a:srgbClr val="0054BC"/>
              </a:buClr>
              <a:buSzPts val="1400"/>
              <a:buFont typeface="Work Sans SemiBold"/>
              <a:buNone/>
              <a:defRPr sz="3000">
                <a:solidFill>
                  <a:srgbClr val="0054BC"/>
                </a:solidFill>
                <a:latin typeface="Calibri" panose="020F0502020204030204" pitchFamily="34" charset="0"/>
                <a:ea typeface="Work Sans Light"/>
                <a:cs typeface="Calibri" panose="020F0502020204030204" pitchFamily="34" charset="0"/>
                <a:sym typeface="Work Sans Light"/>
              </a:defRPr>
            </a:lvl1pPr>
            <a:lvl2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2pPr>
            <a:lvl3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3pPr>
            <a:lvl4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4pPr>
            <a:lvl5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5pPr>
            <a:lvl6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6pPr>
            <a:lvl7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7pPr>
            <a:lvl8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8pPr>
            <a:lvl9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9pPr>
          </a:lstStyle>
          <a:p>
            <a:r>
              <a:rPr lang="es-ES" dirty="0"/>
              <a:t>I. Alcance del proyecto</a:t>
            </a:r>
            <a:endParaRPr lang="es-ES_tradnl" dirty="0">
              <a:sym typeface="Museo Sans 500"/>
            </a:endParaRPr>
          </a:p>
        </p:txBody>
      </p:sp>
    </p:spTree>
    <p:extLst>
      <p:ext uri="{BB962C8B-B14F-4D97-AF65-F5344CB8AC3E}">
        <p14:creationId xmlns:p14="http://schemas.microsoft.com/office/powerpoint/2010/main" val="24555828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7" grpId="0"/>
      <p:bldP spid="79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33393EA3-0BFF-4E7C-AAAE-DCCEAAE07A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7623" y="609225"/>
            <a:ext cx="4421133" cy="4164281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58BB6F40-AEE8-43FF-B34C-51E45545F8EE}"/>
              </a:ext>
            </a:extLst>
          </p:cNvPr>
          <p:cNvSpPr txBox="1"/>
          <p:nvPr/>
        </p:nvSpPr>
        <p:spPr>
          <a:xfrm>
            <a:off x="297623" y="4773506"/>
            <a:ext cx="44211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>
                <a:solidFill>
                  <a:schemeClr val="tx1"/>
                </a:solidFill>
              </a:rPr>
              <a:t>Distribución Unidades Funcionales</a:t>
            </a:r>
          </a:p>
        </p:txBody>
      </p:sp>
      <p:graphicFrame>
        <p:nvGraphicFramePr>
          <p:cNvPr id="11" name="Tabla 10">
            <a:extLst>
              <a:ext uri="{FF2B5EF4-FFF2-40B4-BE49-F238E27FC236}">
                <a16:creationId xmlns:a16="http://schemas.microsoft.com/office/drawing/2014/main" id="{C0CB445D-86D3-4AB2-9A29-4484BE0A07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7548974"/>
              </p:ext>
            </p:extLst>
          </p:nvPr>
        </p:nvGraphicFramePr>
        <p:xfrm>
          <a:off x="4854875" y="1076218"/>
          <a:ext cx="4183988" cy="1143000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6653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127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7733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6444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641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27748">
                <a:tc>
                  <a:txBody>
                    <a:bodyPr/>
                    <a:lstStyle/>
                    <a:p>
                      <a:pPr algn="ctr"/>
                      <a:r>
                        <a:rPr lang="es-CO" sz="1200" b="1" i="0" u="none" strike="noStrike" cap="none" dirty="0">
                          <a:solidFill>
                            <a:srgbClr val="FFFFFF"/>
                          </a:solidFill>
                          <a:effectLst>
                            <a:outerShdw dist="38096" dir="2700000">
                              <a:srgbClr val="000000"/>
                            </a:outerShdw>
                          </a:effectLst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Tramo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200" b="1" i="0" u="none" strike="noStrike" cap="none" dirty="0">
                          <a:solidFill>
                            <a:srgbClr val="FFFFFF"/>
                          </a:solidFill>
                          <a:effectLst>
                            <a:outerShdw dist="38096" dir="2700000">
                              <a:srgbClr val="000000"/>
                            </a:outerShdw>
                          </a:effectLst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Intervención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200" b="1" i="0" u="none" strike="noStrike" cap="none" dirty="0">
                          <a:solidFill>
                            <a:srgbClr val="FFFFFF"/>
                          </a:solidFill>
                          <a:effectLst>
                            <a:outerShdw dist="38096" dir="2700000">
                              <a:srgbClr val="000000"/>
                            </a:outerShdw>
                          </a:effectLst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Inicio 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200" b="1" i="0" u="none" strike="noStrike" cap="none" dirty="0">
                          <a:solidFill>
                            <a:srgbClr val="FFFFFF"/>
                          </a:solidFill>
                          <a:effectLst>
                            <a:outerShdw dist="38096" dir="2700000">
                              <a:srgbClr val="000000"/>
                            </a:outerShdw>
                          </a:effectLst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Fin 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200" b="1" i="0" u="none" strike="noStrike" cap="none" dirty="0">
                          <a:solidFill>
                            <a:srgbClr val="FFFFFF"/>
                          </a:solidFill>
                          <a:effectLst>
                            <a:outerShdw dist="38096" dir="2700000">
                              <a:srgbClr val="000000"/>
                            </a:outerShdw>
                          </a:effectLst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ongitud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algn="ctr"/>
                      <a:r>
                        <a:rPr lang="es-CO" sz="9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ación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s-CO" sz="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strucción</a:t>
                      </a:r>
                      <a:r>
                        <a:rPr lang="es-CO" sz="800" baseline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de segunda calzada (dos carriles)</a:t>
                      </a:r>
                      <a:endParaRPr lang="es-CO" sz="8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tersección Muña</a:t>
                      </a:r>
                      <a:endParaRPr lang="es-CO" sz="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ío Bogotá</a:t>
                      </a:r>
                      <a:endParaRPr lang="es-CO" sz="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 Km</a:t>
                      </a:r>
                      <a:endParaRPr lang="es-CO" sz="8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71500">
                <a:tc>
                  <a:txBody>
                    <a:bodyPr/>
                    <a:lstStyle/>
                    <a:p>
                      <a:pPr algn="ctr"/>
                      <a:r>
                        <a:rPr lang="es-CO" sz="9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istrito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s-CO" sz="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strucción doble calzada con cicloruta y anden en el costado oriental 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s-CO" sz="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exión con calle</a:t>
                      </a:r>
                      <a:r>
                        <a:rPr lang="es-CO" sz="800" baseline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13</a:t>
                      </a:r>
                      <a:endParaRPr lang="es-CO" sz="8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ío Bogotá</a:t>
                      </a:r>
                      <a:endParaRPr lang="es-CO" sz="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lle 13</a:t>
                      </a:r>
                      <a:endParaRPr lang="es-CO" sz="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,5 Km</a:t>
                      </a:r>
                      <a:endParaRPr lang="es-CO" sz="8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2" name="CuadroTexto 11">
            <a:extLst>
              <a:ext uri="{FF2B5EF4-FFF2-40B4-BE49-F238E27FC236}">
                <a16:creationId xmlns:a16="http://schemas.microsoft.com/office/drawing/2014/main" id="{3955CD65-F958-435B-AC66-6CA7B42FA7A0}"/>
              </a:ext>
            </a:extLst>
          </p:cNvPr>
          <p:cNvSpPr txBox="1"/>
          <p:nvPr/>
        </p:nvSpPr>
        <p:spPr>
          <a:xfrm>
            <a:off x="4854874" y="798306"/>
            <a:ext cx="41839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LCANCE DE LA INICIATIVA PRIVADA</a:t>
            </a:r>
          </a:p>
        </p:txBody>
      </p:sp>
      <p:graphicFrame>
        <p:nvGraphicFramePr>
          <p:cNvPr id="14" name="Tabla 13">
            <a:extLst>
              <a:ext uri="{FF2B5EF4-FFF2-40B4-BE49-F238E27FC236}">
                <a16:creationId xmlns:a16="http://schemas.microsoft.com/office/drawing/2014/main" id="{F9777C08-5E30-4DEF-B15A-1AD5E5C4F3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9280253"/>
              </p:ext>
            </p:extLst>
          </p:nvPr>
        </p:nvGraphicFramePr>
        <p:xfrm>
          <a:off x="5305368" y="2493715"/>
          <a:ext cx="3283000" cy="662940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164709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3590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574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s-CO" sz="1200" b="1" i="0" u="none" strike="noStrike" cap="none" dirty="0">
                          <a:solidFill>
                            <a:srgbClr val="FFFFFF"/>
                          </a:solidFill>
                          <a:effectLst>
                            <a:outerShdw dist="38096" dir="2700000">
                              <a:srgbClr val="000000"/>
                            </a:outerShdw>
                          </a:effectLst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INGRESOS</a:t>
                      </a:r>
                    </a:p>
                  </a:txBody>
                  <a:tcPr marL="68580" marR="68580" marT="34290" marB="34290" anchor="ctr"/>
                </a:tc>
                <a:tc hMerge="1"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s-CO" sz="900" b="0" i="0" u="none" strike="noStrike" cap="none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255963846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 algn="ctr"/>
                      <a:r>
                        <a:rPr lang="es-CO" sz="900" b="0" i="0" u="none" strike="noStrike" cap="none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PEAJE CHUSACÁ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s-CO" sz="900" b="0" i="0" u="none" strike="noStrike" cap="none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 25%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933019510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 algn="ctr"/>
                      <a:r>
                        <a:rPr lang="es-CO" sz="900" b="0" i="0" u="none" strike="noStrike" cap="none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NUEVO PEAJE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s-CO" sz="900" b="0" i="0" u="none" strike="noStrike" cap="none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100%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2595453445"/>
                  </a:ext>
                </a:extLst>
              </a:tr>
            </a:tbl>
          </a:graphicData>
        </a:graphic>
      </p:graphicFrame>
      <p:graphicFrame>
        <p:nvGraphicFramePr>
          <p:cNvPr id="16" name="Tabla 15">
            <a:extLst>
              <a:ext uri="{FF2B5EF4-FFF2-40B4-BE49-F238E27FC236}">
                <a16:creationId xmlns:a16="http://schemas.microsoft.com/office/drawing/2014/main" id="{E63762A3-D7E3-42A3-8452-CACDB36C01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7243609"/>
              </p:ext>
            </p:extLst>
          </p:nvPr>
        </p:nvGraphicFramePr>
        <p:xfrm>
          <a:off x="5305368" y="3384584"/>
          <a:ext cx="3283000" cy="1051560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3283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057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s-CO" sz="1200" b="1" i="0" u="none" strike="noStrike" cap="none" dirty="0">
                          <a:solidFill>
                            <a:srgbClr val="FFFFFF"/>
                          </a:solidFill>
                          <a:effectLst>
                            <a:outerShdw dist="38096" dir="2700000">
                              <a:srgbClr val="000000"/>
                            </a:outerShdw>
                          </a:effectLst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PLAZO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255963846"/>
                  </a:ext>
                </a:extLst>
              </a:tr>
              <a:tr h="411480">
                <a:tc>
                  <a:txBody>
                    <a:bodyPr/>
                    <a:lstStyle/>
                    <a:p>
                      <a:pPr marL="171450" marR="0" lvl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s-CO" sz="1200" b="0" i="0" u="none" strike="noStrike" cap="none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Cuando se alcance el VPIP </a:t>
                      </a:r>
                      <a:r>
                        <a:rPr lang="es-CO" sz="1200" b="0" i="0" u="none" strike="noStrike" cap="none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ó</a:t>
                      </a:r>
                      <a:endParaRPr lang="es-CO" sz="1200" b="0" i="0" u="none" strike="noStrike" cap="none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  <a:sym typeface="Arial"/>
                      </a:endParaRPr>
                    </a:p>
                    <a:p>
                      <a:pPr marL="171450" marR="0" lvl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s-CO" sz="1200" b="0" i="0" u="none" strike="noStrike" cap="none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Plazo máximo:</a:t>
                      </a:r>
                    </a:p>
                    <a:p>
                      <a:pPr marL="542925" marR="0" lvl="4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s-CO" sz="1200" b="0" i="0" u="none" strike="noStrike" cap="none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Inicial 30 años. </a:t>
                      </a:r>
                    </a:p>
                    <a:p>
                      <a:pPr algn="ctr"/>
                      <a:endParaRPr lang="es-CO" sz="1200" b="0" i="0" u="none" strike="noStrike" cap="none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  <a:sym typeface="Arial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933019510"/>
                  </a:ext>
                </a:extLst>
              </a:tr>
            </a:tbl>
          </a:graphicData>
        </a:graphic>
      </p:graphicFrame>
      <p:sp>
        <p:nvSpPr>
          <p:cNvPr id="8" name="Rectangle 8">
            <a:extLst>
              <a:ext uri="{FF2B5EF4-FFF2-40B4-BE49-F238E27FC236}">
                <a16:creationId xmlns:a16="http://schemas.microsoft.com/office/drawing/2014/main" id="{8A8F0AED-9D6E-4390-99C5-08E7E2C3788E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993797" y="10326"/>
            <a:ext cx="6503633" cy="64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algn="ctr">
              <a:lnSpc>
                <a:spcPct val="90000"/>
              </a:lnSpc>
              <a:buClr>
                <a:srgbClr val="0054BC"/>
              </a:buClr>
              <a:buSzPts val="1400"/>
              <a:buFont typeface="Work Sans SemiBold"/>
              <a:buNone/>
              <a:defRPr sz="3000">
                <a:solidFill>
                  <a:srgbClr val="0054BC"/>
                </a:solidFill>
                <a:latin typeface="Calibri" panose="020F0502020204030204" pitchFamily="34" charset="0"/>
                <a:ea typeface="Work Sans Light"/>
                <a:cs typeface="Calibri" panose="020F0502020204030204" pitchFamily="34" charset="0"/>
                <a:sym typeface="Work Sans Light"/>
              </a:defRPr>
            </a:lvl1pPr>
            <a:lvl2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2pPr>
            <a:lvl3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3pPr>
            <a:lvl4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4pPr>
            <a:lvl5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5pPr>
            <a:lvl6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6pPr>
            <a:lvl7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7pPr>
            <a:lvl8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8pPr>
            <a:lvl9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9pPr>
          </a:lstStyle>
          <a:p>
            <a:r>
              <a:rPr lang="es-ES" sz="2400" dirty="0"/>
              <a:t>I. Alcance del proyecto – Unidades Funcionales</a:t>
            </a:r>
            <a:endParaRPr lang="es-ES_tradnl" sz="2400" dirty="0">
              <a:sym typeface="Museo Sans 500"/>
            </a:endParaRPr>
          </a:p>
        </p:txBody>
      </p:sp>
    </p:spTree>
    <p:extLst>
      <p:ext uri="{BB962C8B-B14F-4D97-AF65-F5344CB8AC3E}">
        <p14:creationId xmlns:p14="http://schemas.microsoft.com/office/powerpoint/2010/main" val="5461627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AutoShape 131"/>
          <p:cNvSpPr>
            <a:spLocks noChangeAspect="1" noChangeArrowheads="1" noTextEdit="1"/>
          </p:cNvSpPr>
          <p:nvPr/>
        </p:nvSpPr>
        <p:spPr bwMode="auto">
          <a:xfrm>
            <a:off x="0" y="0"/>
            <a:ext cx="9144000" cy="5148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s-CO" sz="1050"/>
          </a:p>
        </p:txBody>
      </p:sp>
      <p:pic>
        <p:nvPicPr>
          <p:cNvPr id="80" name="Imagen 7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52485"/>
            <a:ext cx="9144000" cy="4508484"/>
          </a:xfrm>
          <a:prstGeom prst="rect">
            <a:avLst/>
          </a:prstGeom>
        </p:spPr>
      </p:pic>
      <p:sp>
        <p:nvSpPr>
          <p:cNvPr id="91" name="CuadroTexto 90"/>
          <p:cNvSpPr txBox="1"/>
          <p:nvPr/>
        </p:nvSpPr>
        <p:spPr>
          <a:xfrm rot="17262064">
            <a:off x="5545135" y="2342064"/>
            <a:ext cx="79958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050" dirty="0"/>
              <a:t>Av. Bosa</a:t>
            </a:r>
          </a:p>
        </p:txBody>
      </p:sp>
      <p:sp>
        <p:nvSpPr>
          <p:cNvPr id="92" name="CuadroTexto 91"/>
          <p:cNvSpPr txBox="1"/>
          <p:nvPr/>
        </p:nvSpPr>
        <p:spPr>
          <a:xfrm rot="4791107">
            <a:off x="2296082" y="1837579"/>
            <a:ext cx="95875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050" dirty="0"/>
              <a:t>A Mondoñedo</a:t>
            </a:r>
          </a:p>
        </p:txBody>
      </p:sp>
      <p:pic>
        <p:nvPicPr>
          <p:cNvPr id="115" name="Imagen 114"/>
          <p:cNvPicPr>
            <a:picLocks noChangeAspect="1"/>
          </p:cNvPicPr>
          <p:nvPr/>
        </p:nvPicPr>
        <p:blipFill rotWithShape="1">
          <a:blip r:embed="rId4"/>
          <a:srcRect t="2647" r="23038" b="85943"/>
          <a:stretch/>
        </p:blipFill>
        <p:spPr>
          <a:xfrm>
            <a:off x="8247021" y="2322161"/>
            <a:ext cx="896979" cy="320275"/>
          </a:xfrm>
          <a:prstGeom prst="rect">
            <a:avLst/>
          </a:prstGeom>
        </p:spPr>
      </p:pic>
      <p:sp>
        <p:nvSpPr>
          <p:cNvPr id="114" name="3 Rectángulo"/>
          <p:cNvSpPr/>
          <p:nvPr/>
        </p:nvSpPr>
        <p:spPr bwMode="auto">
          <a:xfrm>
            <a:off x="8131314" y="2332231"/>
            <a:ext cx="1107401" cy="292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61220" tIns="30611" rIns="61220" bIns="30611">
            <a:spAutoFit/>
          </a:bodyPr>
          <a:lstStyle/>
          <a:p>
            <a:pPr algn="ctr" fontAlgn="ctr">
              <a:defRPr/>
            </a:pPr>
            <a:r>
              <a:rPr lang="es-ES" sz="1500" b="1" dirty="0">
                <a:solidFill>
                  <a:schemeClr val="bg1"/>
                </a:solidFill>
                <a:latin typeface="Gotham Rounded Medium" panose="02000000000000000000" pitchFamily="50" charset="0"/>
              </a:rPr>
              <a:t>Calle 13</a:t>
            </a:r>
          </a:p>
        </p:txBody>
      </p:sp>
      <p:sp>
        <p:nvSpPr>
          <p:cNvPr id="116" name="Elipse 115"/>
          <p:cNvSpPr/>
          <p:nvPr/>
        </p:nvSpPr>
        <p:spPr>
          <a:xfrm>
            <a:off x="8123635" y="2632585"/>
            <a:ext cx="199159" cy="169421"/>
          </a:xfrm>
          <a:prstGeom prst="ellipse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050"/>
          </a:p>
        </p:txBody>
      </p:sp>
      <p:pic>
        <p:nvPicPr>
          <p:cNvPr id="118" name="Imagen 117"/>
          <p:cNvPicPr>
            <a:picLocks noChangeAspect="1"/>
          </p:cNvPicPr>
          <p:nvPr/>
        </p:nvPicPr>
        <p:blipFill rotWithShape="1">
          <a:blip r:embed="rId4"/>
          <a:srcRect t="2647" r="23038" b="85943"/>
          <a:stretch/>
        </p:blipFill>
        <p:spPr>
          <a:xfrm>
            <a:off x="5221743" y="1576412"/>
            <a:ext cx="1200509" cy="320275"/>
          </a:xfrm>
          <a:prstGeom prst="rect">
            <a:avLst/>
          </a:prstGeom>
        </p:spPr>
      </p:pic>
      <p:sp>
        <p:nvSpPr>
          <p:cNvPr id="119" name="3 Rectángulo"/>
          <p:cNvSpPr/>
          <p:nvPr/>
        </p:nvSpPr>
        <p:spPr bwMode="auto">
          <a:xfrm>
            <a:off x="5164828" y="1595125"/>
            <a:ext cx="1305720" cy="292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61220" tIns="30611" rIns="61220" bIns="30611">
            <a:spAutoFit/>
          </a:bodyPr>
          <a:lstStyle/>
          <a:p>
            <a:pPr algn="ctr" fontAlgn="ctr">
              <a:defRPr/>
            </a:pPr>
            <a:r>
              <a:rPr lang="es-ES" sz="1500" b="1" dirty="0">
                <a:solidFill>
                  <a:schemeClr val="bg1"/>
                </a:solidFill>
                <a:latin typeface="Gotham Rounded Medium" panose="02000000000000000000" pitchFamily="50" charset="0"/>
              </a:rPr>
              <a:t>Río Bogotá</a:t>
            </a:r>
          </a:p>
        </p:txBody>
      </p:sp>
      <p:pic>
        <p:nvPicPr>
          <p:cNvPr id="120" name="Imagen 119"/>
          <p:cNvPicPr>
            <a:picLocks noChangeAspect="1"/>
          </p:cNvPicPr>
          <p:nvPr/>
        </p:nvPicPr>
        <p:blipFill rotWithShape="1">
          <a:blip r:embed="rId4"/>
          <a:srcRect t="2647" r="23038" b="85943"/>
          <a:stretch/>
        </p:blipFill>
        <p:spPr>
          <a:xfrm>
            <a:off x="1697668" y="2308568"/>
            <a:ext cx="896979" cy="320275"/>
          </a:xfrm>
          <a:prstGeom prst="rect">
            <a:avLst/>
          </a:prstGeom>
        </p:spPr>
      </p:pic>
      <p:sp>
        <p:nvSpPr>
          <p:cNvPr id="121" name="3 Rectángulo"/>
          <p:cNvSpPr/>
          <p:nvPr/>
        </p:nvSpPr>
        <p:spPr bwMode="auto">
          <a:xfrm>
            <a:off x="1672663" y="2322445"/>
            <a:ext cx="915949" cy="292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61220" tIns="30611" rIns="61220" bIns="30611">
            <a:spAutoFit/>
          </a:bodyPr>
          <a:lstStyle/>
          <a:p>
            <a:pPr algn="ctr" fontAlgn="ctr">
              <a:defRPr/>
            </a:pPr>
            <a:r>
              <a:rPr lang="es-ES" sz="1500" b="1" dirty="0">
                <a:solidFill>
                  <a:schemeClr val="bg1"/>
                </a:solidFill>
                <a:latin typeface="Gotham Rounded Medium" panose="02000000000000000000" pitchFamily="50" charset="0"/>
              </a:rPr>
              <a:t>Canoas</a:t>
            </a:r>
          </a:p>
        </p:txBody>
      </p:sp>
      <p:pic>
        <p:nvPicPr>
          <p:cNvPr id="123" name="Imagen 122"/>
          <p:cNvPicPr>
            <a:picLocks noChangeAspect="1"/>
          </p:cNvPicPr>
          <p:nvPr/>
        </p:nvPicPr>
        <p:blipFill rotWithShape="1">
          <a:blip r:embed="rId4"/>
          <a:srcRect t="2647" r="23038" b="85943"/>
          <a:stretch/>
        </p:blipFill>
        <p:spPr>
          <a:xfrm>
            <a:off x="1091485" y="3176886"/>
            <a:ext cx="989501" cy="320275"/>
          </a:xfrm>
          <a:prstGeom prst="rect">
            <a:avLst/>
          </a:prstGeom>
        </p:spPr>
      </p:pic>
      <p:sp>
        <p:nvSpPr>
          <p:cNvPr id="122" name="3 Rectángulo"/>
          <p:cNvSpPr/>
          <p:nvPr/>
        </p:nvSpPr>
        <p:spPr bwMode="auto">
          <a:xfrm>
            <a:off x="1008845" y="3195374"/>
            <a:ext cx="1107401" cy="292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61220" tIns="30611" rIns="61220" bIns="30611">
            <a:spAutoFit/>
          </a:bodyPr>
          <a:lstStyle/>
          <a:p>
            <a:pPr algn="ctr" fontAlgn="ctr">
              <a:defRPr/>
            </a:pPr>
            <a:r>
              <a:rPr lang="es-ES" sz="1500" b="1" dirty="0">
                <a:solidFill>
                  <a:schemeClr val="bg1"/>
                </a:solidFill>
                <a:latin typeface="Gotham Rounded Medium" panose="02000000000000000000" pitchFamily="50" charset="0"/>
              </a:rPr>
              <a:t>Chusacá</a:t>
            </a:r>
          </a:p>
        </p:txBody>
      </p:sp>
      <p:sp>
        <p:nvSpPr>
          <p:cNvPr id="198" name="CuadroTexto 197"/>
          <p:cNvSpPr txBox="1"/>
          <p:nvPr/>
        </p:nvSpPr>
        <p:spPr>
          <a:xfrm rot="561392">
            <a:off x="4304403" y="3413823"/>
            <a:ext cx="116190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050" dirty="0"/>
              <a:t>Autopista Sur</a:t>
            </a:r>
          </a:p>
        </p:txBody>
      </p:sp>
      <p:sp>
        <p:nvSpPr>
          <p:cNvPr id="4" name="Forma libre 3"/>
          <p:cNvSpPr/>
          <p:nvPr/>
        </p:nvSpPr>
        <p:spPr>
          <a:xfrm>
            <a:off x="2125266" y="2546748"/>
            <a:ext cx="700088" cy="1064418"/>
          </a:xfrm>
          <a:custGeom>
            <a:avLst/>
            <a:gdLst>
              <a:gd name="connsiteX0" fmla="*/ 0 w 900113"/>
              <a:gd name="connsiteY0" fmla="*/ 1347787 h 1347787"/>
              <a:gd name="connsiteX1" fmla="*/ 76200 w 900113"/>
              <a:gd name="connsiteY1" fmla="*/ 1204912 h 1347787"/>
              <a:gd name="connsiteX2" fmla="*/ 200025 w 900113"/>
              <a:gd name="connsiteY2" fmla="*/ 1062037 h 1347787"/>
              <a:gd name="connsiteX3" fmla="*/ 357188 w 900113"/>
              <a:gd name="connsiteY3" fmla="*/ 881062 h 1347787"/>
              <a:gd name="connsiteX4" fmla="*/ 495300 w 900113"/>
              <a:gd name="connsiteY4" fmla="*/ 700087 h 1347787"/>
              <a:gd name="connsiteX5" fmla="*/ 609600 w 900113"/>
              <a:gd name="connsiteY5" fmla="*/ 581025 h 1347787"/>
              <a:gd name="connsiteX6" fmla="*/ 666750 w 900113"/>
              <a:gd name="connsiteY6" fmla="*/ 495300 h 1347787"/>
              <a:gd name="connsiteX7" fmla="*/ 704850 w 900113"/>
              <a:gd name="connsiteY7" fmla="*/ 323850 h 1347787"/>
              <a:gd name="connsiteX8" fmla="*/ 747713 w 900113"/>
              <a:gd name="connsiteY8" fmla="*/ 180975 h 1347787"/>
              <a:gd name="connsiteX9" fmla="*/ 800100 w 900113"/>
              <a:gd name="connsiteY9" fmla="*/ 85725 h 1347787"/>
              <a:gd name="connsiteX10" fmla="*/ 876300 w 900113"/>
              <a:gd name="connsiteY10" fmla="*/ 23812 h 1347787"/>
              <a:gd name="connsiteX11" fmla="*/ 900113 w 900113"/>
              <a:gd name="connsiteY11" fmla="*/ 0 h 1347787"/>
              <a:gd name="connsiteX0" fmla="*/ 0 w 900113"/>
              <a:gd name="connsiteY0" fmla="*/ 1347787 h 1347787"/>
              <a:gd name="connsiteX1" fmla="*/ 76200 w 900113"/>
              <a:gd name="connsiteY1" fmla="*/ 1204912 h 1347787"/>
              <a:gd name="connsiteX2" fmla="*/ 200025 w 900113"/>
              <a:gd name="connsiteY2" fmla="*/ 1062037 h 1347787"/>
              <a:gd name="connsiteX3" fmla="*/ 357188 w 900113"/>
              <a:gd name="connsiteY3" fmla="*/ 881062 h 1347787"/>
              <a:gd name="connsiteX4" fmla="*/ 495300 w 900113"/>
              <a:gd name="connsiteY4" fmla="*/ 700087 h 1347787"/>
              <a:gd name="connsiteX5" fmla="*/ 595312 w 900113"/>
              <a:gd name="connsiteY5" fmla="*/ 585787 h 1347787"/>
              <a:gd name="connsiteX6" fmla="*/ 666750 w 900113"/>
              <a:gd name="connsiteY6" fmla="*/ 495300 h 1347787"/>
              <a:gd name="connsiteX7" fmla="*/ 704850 w 900113"/>
              <a:gd name="connsiteY7" fmla="*/ 323850 h 1347787"/>
              <a:gd name="connsiteX8" fmla="*/ 747713 w 900113"/>
              <a:gd name="connsiteY8" fmla="*/ 180975 h 1347787"/>
              <a:gd name="connsiteX9" fmla="*/ 800100 w 900113"/>
              <a:gd name="connsiteY9" fmla="*/ 85725 h 1347787"/>
              <a:gd name="connsiteX10" fmla="*/ 876300 w 900113"/>
              <a:gd name="connsiteY10" fmla="*/ 23812 h 1347787"/>
              <a:gd name="connsiteX11" fmla="*/ 900113 w 900113"/>
              <a:gd name="connsiteY11" fmla="*/ 0 h 1347787"/>
              <a:gd name="connsiteX0" fmla="*/ 0 w 900113"/>
              <a:gd name="connsiteY0" fmla="*/ 1347787 h 1347787"/>
              <a:gd name="connsiteX1" fmla="*/ 76200 w 900113"/>
              <a:gd name="connsiteY1" fmla="*/ 1204912 h 1347787"/>
              <a:gd name="connsiteX2" fmla="*/ 209550 w 900113"/>
              <a:gd name="connsiteY2" fmla="*/ 1038224 h 1347787"/>
              <a:gd name="connsiteX3" fmla="*/ 357188 w 900113"/>
              <a:gd name="connsiteY3" fmla="*/ 881062 h 1347787"/>
              <a:gd name="connsiteX4" fmla="*/ 495300 w 900113"/>
              <a:gd name="connsiteY4" fmla="*/ 700087 h 1347787"/>
              <a:gd name="connsiteX5" fmla="*/ 595312 w 900113"/>
              <a:gd name="connsiteY5" fmla="*/ 585787 h 1347787"/>
              <a:gd name="connsiteX6" fmla="*/ 666750 w 900113"/>
              <a:gd name="connsiteY6" fmla="*/ 495300 h 1347787"/>
              <a:gd name="connsiteX7" fmla="*/ 704850 w 900113"/>
              <a:gd name="connsiteY7" fmla="*/ 323850 h 1347787"/>
              <a:gd name="connsiteX8" fmla="*/ 747713 w 900113"/>
              <a:gd name="connsiteY8" fmla="*/ 180975 h 1347787"/>
              <a:gd name="connsiteX9" fmla="*/ 800100 w 900113"/>
              <a:gd name="connsiteY9" fmla="*/ 85725 h 1347787"/>
              <a:gd name="connsiteX10" fmla="*/ 876300 w 900113"/>
              <a:gd name="connsiteY10" fmla="*/ 23812 h 1347787"/>
              <a:gd name="connsiteX11" fmla="*/ 900113 w 900113"/>
              <a:gd name="connsiteY11" fmla="*/ 0 h 1347787"/>
              <a:gd name="connsiteX0" fmla="*/ 0 w 900113"/>
              <a:gd name="connsiteY0" fmla="*/ 1347787 h 1347787"/>
              <a:gd name="connsiteX1" fmla="*/ 76200 w 900113"/>
              <a:gd name="connsiteY1" fmla="*/ 1204912 h 1347787"/>
              <a:gd name="connsiteX2" fmla="*/ 209550 w 900113"/>
              <a:gd name="connsiteY2" fmla="*/ 1038224 h 1347787"/>
              <a:gd name="connsiteX3" fmla="*/ 357188 w 900113"/>
              <a:gd name="connsiteY3" fmla="*/ 881062 h 1347787"/>
              <a:gd name="connsiteX4" fmla="*/ 495300 w 900113"/>
              <a:gd name="connsiteY4" fmla="*/ 700087 h 1347787"/>
              <a:gd name="connsiteX5" fmla="*/ 595312 w 900113"/>
              <a:gd name="connsiteY5" fmla="*/ 585787 h 1347787"/>
              <a:gd name="connsiteX6" fmla="*/ 666750 w 900113"/>
              <a:gd name="connsiteY6" fmla="*/ 481013 h 1347787"/>
              <a:gd name="connsiteX7" fmla="*/ 704850 w 900113"/>
              <a:gd name="connsiteY7" fmla="*/ 323850 h 1347787"/>
              <a:gd name="connsiteX8" fmla="*/ 747713 w 900113"/>
              <a:gd name="connsiteY8" fmla="*/ 180975 h 1347787"/>
              <a:gd name="connsiteX9" fmla="*/ 800100 w 900113"/>
              <a:gd name="connsiteY9" fmla="*/ 85725 h 1347787"/>
              <a:gd name="connsiteX10" fmla="*/ 876300 w 900113"/>
              <a:gd name="connsiteY10" fmla="*/ 23812 h 1347787"/>
              <a:gd name="connsiteX11" fmla="*/ 900113 w 900113"/>
              <a:gd name="connsiteY11" fmla="*/ 0 h 1347787"/>
              <a:gd name="connsiteX0" fmla="*/ 0 w 900113"/>
              <a:gd name="connsiteY0" fmla="*/ 1347787 h 1347787"/>
              <a:gd name="connsiteX1" fmla="*/ 76200 w 900113"/>
              <a:gd name="connsiteY1" fmla="*/ 1204912 h 1347787"/>
              <a:gd name="connsiteX2" fmla="*/ 209550 w 900113"/>
              <a:gd name="connsiteY2" fmla="*/ 1038224 h 1347787"/>
              <a:gd name="connsiteX3" fmla="*/ 357188 w 900113"/>
              <a:gd name="connsiteY3" fmla="*/ 881062 h 1347787"/>
              <a:gd name="connsiteX4" fmla="*/ 495300 w 900113"/>
              <a:gd name="connsiteY4" fmla="*/ 700087 h 1347787"/>
              <a:gd name="connsiteX5" fmla="*/ 595312 w 900113"/>
              <a:gd name="connsiteY5" fmla="*/ 585787 h 1347787"/>
              <a:gd name="connsiteX6" fmla="*/ 666750 w 900113"/>
              <a:gd name="connsiteY6" fmla="*/ 481013 h 1347787"/>
              <a:gd name="connsiteX7" fmla="*/ 704850 w 900113"/>
              <a:gd name="connsiteY7" fmla="*/ 323850 h 1347787"/>
              <a:gd name="connsiteX8" fmla="*/ 754063 w 900113"/>
              <a:gd name="connsiteY8" fmla="*/ 200025 h 1347787"/>
              <a:gd name="connsiteX9" fmla="*/ 800100 w 900113"/>
              <a:gd name="connsiteY9" fmla="*/ 85725 h 1347787"/>
              <a:gd name="connsiteX10" fmla="*/ 876300 w 900113"/>
              <a:gd name="connsiteY10" fmla="*/ 23812 h 1347787"/>
              <a:gd name="connsiteX11" fmla="*/ 900113 w 900113"/>
              <a:gd name="connsiteY11" fmla="*/ 0 h 1347787"/>
              <a:gd name="connsiteX0" fmla="*/ 0 w 900113"/>
              <a:gd name="connsiteY0" fmla="*/ 1347787 h 1347787"/>
              <a:gd name="connsiteX1" fmla="*/ 76200 w 900113"/>
              <a:gd name="connsiteY1" fmla="*/ 1204912 h 1347787"/>
              <a:gd name="connsiteX2" fmla="*/ 209550 w 900113"/>
              <a:gd name="connsiteY2" fmla="*/ 1038224 h 1347787"/>
              <a:gd name="connsiteX3" fmla="*/ 357188 w 900113"/>
              <a:gd name="connsiteY3" fmla="*/ 881062 h 1347787"/>
              <a:gd name="connsiteX4" fmla="*/ 495300 w 900113"/>
              <a:gd name="connsiteY4" fmla="*/ 700087 h 1347787"/>
              <a:gd name="connsiteX5" fmla="*/ 595312 w 900113"/>
              <a:gd name="connsiteY5" fmla="*/ 585787 h 1347787"/>
              <a:gd name="connsiteX6" fmla="*/ 666750 w 900113"/>
              <a:gd name="connsiteY6" fmla="*/ 481013 h 1347787"/>
              <a:gd name="connsiteX7" fmla="*/ 717550 w 900113"/>
              <a:gd name="connsiteY7" fmla="*/ 349250 h 1347787"/>
              <a:gd name="connsiteX8" fmla="*/ 754063 w 900113"/>
              <a:gd name="connsiteY8" fmla="*/ 200025 h 1347787"/>
              <a:gd name="connsiteX9" fmla="*/ 800100 w 900113"/>
              <a:gd name="connsiteY9" fmla="*/ 85725 h 1347787"/>
              <a:gd name="connsiteX10" fmla="*/ 876300 w 900113"/>
              <a:gd name="connsiteY10" fmla="*/ 23812 h 1347787"/>
              <a:gd name="connsiteX11" fmla="*/ 900113 w 900113"/>
              <a:gd name="connsiteY11" fmla="*/ 0 h 1347787"/>
              <a:gd name="connsiteX0" fmla="*/ 0 w 900113"/>
              <a:gd name="connsiteY0" fmla="*/ 1347787 h 1347787"/>
              <a:gd name="connsiteX1" fmla="*/ 76200 w 900113"/>
              <a:gd name="connsiteY1" fmla="*/ 1204912 h 1347787"/>
              <a:gd name="connsiteX2" fmla="*/ 209550 w 900113"/>
              <a:gd name="connsiteY2" fmla="*/ 1038224 h 1347787"/>
              <a:gd name="connsiteX3" fmla="*/ 357188 w 900113"/>
              <a:gd name="connsiteY3" fmla="*/ 881062 h 1347787"/>
              <a:gd name="connsiteX4" fmla="*/ 495300 w 900113"/>
              <a:gd name="connsiteY4" fmla="*/ 700087 h 1347787"/>
              <a:gd name="connsiteX5" fmla="*/ 595312 w 900113"/>
              <a:gd name="connsiteY5" fmla="*/ 585787 h 1347787"/>
              <a:gd name="connsiteX6" fmla="*/ 666750 w 900113"/>
              <a:gd name="connsiteY6" fmla="*/ 481013 h 1347787"/>
              <a:gd name="connsiteX7" fmla="*/ 711200 w 900113"/>
              <a:gd name="connsiteY7" fmla="*/ 349250 h 1347787"/>
              <a:gd name="connsiteX8" fmla="*/ 754063 w 900113"/>
              <a:gd name="connsiteY8" fmla="*/ 200025 h 1347787"/>
              <a:gd name="connsiteX9" fmla="*/ 800100 w 900113"/>
              <a:gd name="connsiteY9" fmla="*/ 85725 h 1347787"/>
              <a:gd name="connsiteX10" fmla="*/ 876300 w 900113"/>
              <a:gd name="connsiteY10" fmla="*/ 23812 h 1347787"/>
              <a:gd name="connsiteX11" fmla="*/ 900113 w 900113"/>
              <a:gd name="connsiteY11" fmla="*/ 0 h 1347787"/>
              <a:gd name="connsiteX0" fmla="*/ 0 w 900113"/>
              <a:gd name="connsiteY0" fmla="*/ 1347787 h 1347787"/>
              <a:gd name="connsiteX1" fmla="*/ 76200 w 900113"/>
              <a:gd name="connsiteY1" fmla="*/ 1204912 h 1347787"/>
              <a:gd name="connsiteX2" fmla="*/ 209550 w 900113"/>
              <a:gd name="connsiteY2" fmla="*/ 1038224 h 1347787"/>
              <a:gd name="connsiteX3" fmla="*/ 357188 w 900113"/>
              <a:gd name="connsiteY3" fmla="*/ 881062 h 1347787"/>
              <a:gd name="connsiteX4" fmla="*/ 495300 w 900113"/>
              <a:gd name="connsiteY4" fmla="*/ 700087 h 1347787"/>
              <a:gd name="connsiteX5" fmla="*/ 595312 w 900113"/>
              <a:gd name="connsiteY5" fmla="*/ 585787 h 1347787"/>
              <a:gd name="connsiteX6" fmla="*/ 666750 w 900113"/>
              <a:gd name="connsiteY6" fmla="*/ 481013 h 1347787"/>
              <a:gd name="connsiteX7" fmla="*/ 704850 w 900113"/>
              <a:gd name="connsiteY7" fmla="*/ 355600 h 1347787"/>
              <a:gd name="connsiteX8" fmla="*/ 754063 w 900113"/>
              <a:gd name="connsiteY8" fmla="*/ 200025 h 1347787"/>
              <a:gd name="connsiteX9" fmla="*/ 800100 w 900113"/>
              <a:gd name="connsiteY9" fmla="*/ 85725 h 1347787"/>
              <a:gd name="connsiteX10" fmla="*/ 876300 w 900113"/>
              <a:gd name="connsiteY10" fmla="*/ 23812 h 1347787"/>
              <a:gd name="connsiteX11" fmla="*/ 900113 w 900113"/>
              <a:gd name="connsiteY11" fmla="*/ 0 h 1347787"/>
              <a:gd name="connsiteX0" fmla="*/ 0 w 933450"/>
              <a:gd name="connsiteY0" fmla="*/ 1419224 h 1419224"/>
              <a:gd name="connsiteX1" fmla="*/ 109537 w 933450"/>
              <a:gd name="connsiteY1" fmla="*/ 1204912 h 1419224"/>
              <a:gd name="connsiteX2" fmla="*/ 242887 w 933450"/>
              <a:gd name="connsiteY2" fmla="*/ 1038224 h 1419224"/>
              <a:gd name="connsiteX3" fmla="*/ 390525 w 933450"/>
              <a:gd name="connsiteY3" fmla="*/ 881062 h 1419224"/>
              <a:gd name="connsiteX4" fmla="*/ 528637 w 933450"/>
              <a:gd name="connsiteY4" fmla="*/ 700087 h 1419224"/>
              <a:gd name="connsiteX5" fmla="*/ 628649 w 933450"/>
              <a:gd name="connsiteY5" fmla="*/ 585787 h 1419224"/>
              <a:gd name="connsiteX6" fmla="*/ 700087 w 933450"/>
              <a:gd name="connsiteY6" fmla="*/ 481013 h 1419224"/>
              <a:gd name="connsiteX7" fmla="*/ 738187 w 933450"/>
              <a:gd name="connsiteY7" fmla="*/ 355600 h 1419224"/>
              <a:gd name="connsiteX8" fmla="*/ 787400 w 933450"/>
              <a:gd name="connsiteY8" fmla="*/ 200025 h 1419224"/>
              <a:gd name="connsiteX9" fmla="*/ 833437 w 933450"/>
              <a:gd name="connsiteY9" fmla="*/ 85725 h 1419224"/>
              <a:gd name="connsiteX10" fmla="*/ 909637 w 933450"/>
              <a:gd name="connsiteY10" fmla="*/ 23812 h 1419224"/>
              <a:gd name="connsiteX11" fmla="*/ 933450 w 933450"/>
              <a:gd name="connsiteY11" fmla="*/ 0 h 1419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33450" h="1419224">
                <a:moveTo>
                  <a:pt x="0" y="1419224"/>
                </a:moveTo>
                <a:cubicBezTo>
                  <a:pt x="21431" y="1371599"/>
                  <a:pt x="69056" y="1268412"/>
                  <a:pt x="109537" y="1204912"/>
                </a:cubicBezTo>
                <a:cubicBezTo>
                  <a:pt x="150018" y="1141412"/>
                  <a:pt x="242887" y="1038224"/>
                  <a:pt x="242887" y="1038224"/>
                </a:cubicBezTo>
                <a:cubicBezTo>
                  <a:pt x="289718" y="984249"/>
                  <a:pt x="342900" y="937418"/>
                  <a:pt x="390525" y="881062"/>
                </a:cubicBezTo>
                <a:cubicBezTo>
                  <a:pt x="438150" y="824706"/>
                  <a:pt x="488950" y="749299"/>
                  <a:pt x="528637" y="700087"/>
                </a:cubicBezTo>
                <a:cubicBezTo>
                  <a:pt x="568324" y="650875"/>
                  <a:pt x="600074" y="622299"/>
                  <a:pt x="628649" y="585787"/>
                </a:cubicBezTo>
                <a:cubicBezTo>
                  <a:pt x="657224" y="549275"/>
                  <a:pt x="681831" y="519378"/>
                  <a:pt x="700087" y="481013"/>
                </a:cubicBezTo>
                <a:cubicBezTo>
                  <a:pt x="718343" y="442649"/>
                  <a:pt x="723635" y="402431"/>
                  <a:pt x="738187" y="355600"/>
                </a:cubicBezTo>
                <a:cubicBezTo>
                  <a:pt x="752739" y="308769"/>
                  <a:pt x="771525" y="245004"/>
                  <a:pt x="787400" y="200025"/>
                </a:cubicBezTo>
                <a:cubicBezTo>
                  <a:pt x="803275" y="155046"/>
                  <a:pt x="813064" y="115094"/>
                  <a:pt x="833437" y="85725"/>
                </a:cubicBezTo>
                <a:cubicBezTo>
                  <a:pt x="853810" y="56356"/>
                  <a:pt x="892968" y="38099"/>
                  <a:pt x="909637" y="23812"/>
                </a:cubicBezTo>
                <a:cubicBezTo>
                  <a:pt x="926306" y="9525"/>
                  <a:pt x="929878" y="4762"/>
                  <a:pt x="933450" y="0"/>
                </a:cubicBezTo>
              </a:path>
            </a:pathLst>
          </a:custGeom>
          <a:noFill/>
          <a:ln w="508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050"/>
          </a:p>
        </p:txBody>
      </p:sp>
      <p:sp>
        <p:nvSpPr>
          <p:cNvPr id="93" name="Forma libre 92"/>
          <p:cNvSpPr/>
          <p:nvPr/>
        </p:nvSpPr>
        <p:spPr>
          <a:xfrm>
            <a:off x="2038827" y="2534516"/>
            <a:ext cx="726520" cy="1090850"/>
          </a:xfrm>
          <a:custGeom>
            <a:avLst/>
            <a:gdLst>
              <a:gd name="connsiteX0" fmla="*/ 0 w 900113"/>
              <a:gd name="connsiteY0" fmla="*/ 1347787 h 1347787"/>
              <a:gd name="connsiteX1" fmla="*/ 76200 w 900113"/>
              <a:gd name="connsiteY1" fmla="*/ 1204912 h 1347787"/>
              <a:gd name="connsiteX2" fmla="*/ 200025 w 900113"/>
              <a:gd name="connsiteY2" fmla="*/ 1062037 h 1347787"/>
              <a:gd name="connsiteX3" fmla="*/ 357188 w 900113"/>
              <a:gd name="connsiteY3" fmla="*/ 881062 h 1347787"/>
              <a:gd name="connsiteX4" fmla="*/ 495300 w 900113"/>
              <a:gd name="connsiteY4" fmla="*/ 700087 h 1347787"/>
              <a:gd name="connsiteX5" fmla="*/ 609600 w 900113"/>
              <a:gd name="connsiteY5" fmla="*/ 581025 h 1347787"/>
              <a:gd name="connsiteX6" fmla="*/ 666750 w 900113"/>
              <a:gd name="connsiteY6" fmla="*/ 495300 h 1347787"/>
              <a:gd name="connsiteX7" fmla="*/ 704850 w 900113"/>
              <a:gd name="connsiteY7" fmla="*/ 323850 h 1347787"/>
              <a:gd name="connsiteX8" fmla="*/ 747713 w 900113"/>
              <a:gd name="connsiteY8" fmla="*/ 180975 h 1347787"/>
              <a:gd name="connsiteX9" fmla="*/ 800100 w 900113"/>
              <a:gd name="connsiteY9" fmla="*/ 85725 h 1347787"/>
              <a:gd name="connsiteX10" fmla="*/ 876300 w 900113"/>
              <a:gd name="connsiteY10" fmla="*/ 23812 h 1347787"/>
              <a:gd name="connsiteX11" fmla="*/ 900113 w 900113"/>
              <a:gd name="connsiteY11" fmla="*/ 0 h 1347787"/>
              <a:gd name="connsiteX0" fmla="*/ 0 w 900113"/>
              <a:gd name="connsiteY0" fmla="*/ 1347787 h 1347787"/>
              <a:gd name="connsiteX1" fmla="*/ 76200 w 900113"/>
              <a:gd name="connsiteY1" fmla="*/ 1204912 h 1347787"/>
              <a:gd name="connsiteX2" fmla="*/ 200025 w 900113"/>
              <a:gd name="connsiteY2" fmla="*/ 1062037 h 1347787"/>
              <a:gd name="connsiteX3" fmla="*/ 357188 w 900113"/>
              <a:gd name="connsiteY3" fmla="*/ 881062 h 1347787"/>
              <a:gd name="connsiteX4" fmla="*/ 495300 w 900113"/>
              <a:gd name="connsiteY4" fmla="*/ 700087 h 1347787"/>
              <a:gd name="connsiteX5" fmla="*/ 595312 w 900113"/>
              <a:gd name="connsiteY5" fmla="*/ 585787 h 1347787"/>
              <a:gd name="connsiteX6" fmla="*/ 666750 w 900113"/>
              <a:gd name="connsiteY6" fmla="*/ 495300 h 1347787"/>
              <a:gd name="connsiteX7" fmla="*/ 704850 w 900113"/>
              <a:gd name="connsiteY7" fmla="*/ 323850 h 1347787"/>
              <a:gd name="connsiteX8" fmla="*/ 747713 w 900113"/>
              <a:gd name="connsiteY8" fmla="*/ 180975 h 1347787"/>
              <a:gd name="connsiteX9" fmla="*/ 800100 w 900113"/>
              <a:gd name="connsiteY9" fmla="*/ 85725 h 1347787"/>
              <a:gd name="connsiteX10" fmla="*/ 876300 w 900113"/>
              <a:gd name="connsiteY10" fmla="*/ 23812 h 1347787"/>
              <a:gd name="connsiteX11" fmla="*/ 900113 w 900113"/>
              <a:gd name="connsiteY11" fmla="*/ 0 h 1347787"/>
              <a:gd name="connsiteX0" fmla="*/ 0 w 900113"/>
              <a:gd name="connsiteY0" fmla="*/ 1347787 h 1347787"/>
              <a:gd name="connsiteX1" fmla="*/ 76200 w 900113"/>
              <a:gd name="connsiteY1" fmla="*/ 1204912 h 1347787"/>
              <a:gd name="connsiteX2" fmla="*/ 209550 w 900113"/>
              <a:gd name="connsiteY2" fmla="*/ 1038224 h 1347787"/>
              <a:gd name="connsiteX3" fmla="*/ 357188 w 900113"/>
              <a:gd name="connsiteY3" fmla="*/ 881062 h 1347787"/>
              <a:gd name="connsiteX4" fmla="*/ 495300 w 900113"/>
              <a:gd name="connsiteY4" fmla="*/ 700087 h 1347787"/>
              <a:gd name="connsiteX5" fmla="*/ 595312 w 900113"/>
              <a:gd name="connsiteY5" fmla="*/ 585787 h 1347787"/>
              <a:gd name="connsiteX6" fmla="*/ 666750 w 900113"/>
              <a:gd name="connsiteY6" fmla="*/ 495300 h 1347787"/>
              <a:gd name="connsiteX7" fmla="*/ 704850 w 900113"/>
              <a:gd name="connsiteY7" fmla="*/ 323850 h 1347787"/>
              <a:gd name="connsiteX8" fmla="*/ 747713 w 900113"/>
              <a:gd name="connsiteY8" fmla="*/ 180975 h 1347787"/>
              <a:gd name="connsiteX9" fmla="*/ 800100 w 900113"/>
              <a:gd name="connsiteY9" fmla="*/ 85725 h 1347787"/>
              <a:gd name="connsiteX10" fmla="*/ 876300 w 900113"/>
              <a:gd name="connsiteY10" fmla="*/ 23812 h 1347787"/>
              <a:gd name="connsiteX11" fmla="*/ 900113 w 900113"/>
              <a:gd name="connsiteY11" fmla="*/ 0 h 1347787"/>
              <a:gd name="connsiteX0" fmla="*/ 0 w 900113"/>
              <a:gd name="connsiteY0" fmla="*/ 1347787 h 1347787"/>
              <a:gd name="connsiteX1" fmla="*/ 76200 w 900113"/>
              <a:gd name="connsiteY1" fmla="*/ 1204912 h 1347787"/>
              <a:gd name="connsiteX2" fmla="*/ 209550 w 900113"/>
              <a:gd name="connsiteY2" fmla="*/ 1038224 h 1347787"/>
              <a:gd name="connsiteX3" fmla="*/ 357188 w 900113"/>
              <a:gd name="connsiteY3" fmla="*/ 881062 h 1347787"/>
              <a:gd name="connsiteX4" fmla="*/ 495300 w 900113"/>
              <a:gd name="connsiteY4" fmla="*/ 700087 h 1347787"/>
              <a:gd name="connsiteX5" fmla="*/ 595312 w 900113"/>
              <a:gd name="connsiteY5" fmla="*/ 585787 h 1347787"/>
              <a:gd name="connsiteX6" fmla="*/ 666750 w 900113"/>
              <a:gd name="connsiteY6" fmla="*/ 481013 h 1347787"/>
              <a:gd name="connsiteX7" fmla="*/ 704850 w 900113"/>
              <a:gd name="connsiteY7" fmla="*/ 323850 h 1347787"/>
              <a:gd name="connsiteX8" fmla="*/ 747713 w 900113"/>
              <a:gd name="connsiteY8" fmla="*/ 180975 h 1347787"/>
              <a:gd name="connsiteX9" fmla="*/ 800100 w 900113"/>
              <a:gd name="connsiteY9" fmla="*/ 85725 h 1347787"/>
              <a:gd name="connsiteX10" fmla="*/ 876300 w 900113"/>
              <a:gd name="connsiteY10" fmla="*/ 23812 h 1347787"/>
              <a:gd name="connsiteX11" fmla="*/ 900113 w 900113"/>
              <a:gd name="connsiteY11" fmla="*/ 0 h 1347787"/>
              <a:gd name="connsiteX0" fmla="*/ 0 w 900113"/>
              <a:gd name="connsiteY0" fmla="*/ 1347787 h 1347787"/>
              <a:gd name="connsiteX1" fmla="*/ 76200 w 900113"/>
              <a:gd name="connsiteY1" fmla="*/ 1204912 h 1347787"/>
              <a:gd name="connsiteX2" fmla="*/ 209550 w 900113"/>
              <a:gd name="connsiteY2" fmla="*/ 1038224 h 1347787"/>
              <a:gd name="connsiteX3" fmla="*/ 357188 w 900113"/>
              <a:gd name="connsiteY3" fmla="*/ 881062 h 1347787"/>
              <a:gd name="connsiteX4" fmla="*/ 495300 w 900113"/>
              <a:gd name="connsiteY4" fmla="*/ 700087 h 1347787"/>
              <a:gd name="connsiteX5" fmla="*/ 595312 w 900113"/>
              <a:gd name="connsiteY5" fmla="*/ 585787 h 1347787"/>
              <a:gd name="connsiteX6" fmla="*/ 666750 w 900113"/>
              <a:gd name="connsiteY6" fmla="*/ 481013 h 1347787"/>
              <a:gd name="connsiteX7" fmla="*/ 704850 w 900113"/>
              <a:gd name="connsiteY7" fmla="*/ 323850 h 1347787"/>
              <a:gd name="connsiteX8" fmla="*/ 754063 w 900113"/>
              <a:gd name="connsiteY8" fmla="*/ 200025 h 1347787"/>
              <a:gd name="connsiteX9" fmla="*/ 800100 w 900113"/>
              <a:gd name="connsiteY9" fmla="*/ 85725 h 1347787"/>
              <a:gd name="connsiteX10" fmla="*/ 876300 w 900113"/>
              <a:gd name="connsiteY10" fmla="*/ 23812 h 1347787"/>
              <a:gd name="connsiteX11" fmla="*/ 900113 w 900113"/>
              <a:gd name="connsiteY11" fmla="*/ 0 h 1347787"/>
              <a:gd name="connsiteX0" fmla="*/ 0 w 900113"/>
              <a:gd name="connsiteY0" fmla="*/ 1347787 h 1347787"/>
              <a:gd name="connsiteX1" fmla="*/ 76200 w 900113"/>
              <a:gd name="connsiteY1" fmla="*/ 1204912 h 1347787"/>
              <a:gd name="connsiteX2" fmla="*/ 209550 w 900113"/>
              <a:gd name="connsiteY2" fmla="*/ 1038224 h 1347787"/>
              <a:gd name="connsiteX3" fmla="*/ 357188 w 900113"/>
              <a:gd name="connsiteY3" fmla="*/ 881062 h 1347787"/>
              <a:gd name="connsiteX4" fmla="*/ 495300 w 900113"/>
              <a:gd name="connsiteY4" fmla="*/ 700087 h 1347787"/>
              <a:gd name="connsiteX5" fmla="*/ 595312 w 900113"/>
              <a:gd name="connsiteY5" fmla="*/ 585787 h 1347787"/>
              <a:gd name="connsiteX6" fmla="*/ 666750 w 900113"/>
              <a:gd name="connsiteY6" fmla="*/ 481013 h 1347787"/>
              <a:gd name="connsiteX7" fmla="*/ 717550 w 900113"/>
              <a:gd name="connsiteY7" fmla="*/ 349250 h 1347787"/>
              <a:gd name="connsiteX8" fmla="*/ 754063 w 900113"/>
              <a:gd name="connsiteY8" fmla="*/ 200025 h 1347787"/>
              <a:gd name="connsiteX9" fmla="*/ 800100 w 900113"/>
              <a:gd name="connsiteY9" fmla="*/ 85725 h 1347787"/>
              <a:gd name="connsiteX10" fmla="*/ 876300 w 900113"/>
              <a:gd name="connsiteY10" fmla="*/ 23812 h 1347787"/>
              <a:gd name="connsiteX11" fmla="*/ 900113 w 900113"/>
              <a:gd name="connsiteY11" fmla="*/ 0 h 1347787"/>
              <a:gd name="connsiteX0" fmla="*/ 0 w 900113"/>
              <a:gd name="connsiteY0" fmla="*/ 1347787 h 1347787"/>
              <a:gd name="connsiteX1" fmla="*/ 76200 w 900113"/>
              <a:gd name="connsiteY1" fmla="*/ 1204912 h 1347787"/>
              <a:gd name="connsiteX2" fmla="*/ 209550 w 900113"/>
              <a:gd name="connsiteY2" fmla="*/ 1038224 h 1347787"/>
              <a:gd name="connsiteX3" fmla="*/ 357188 w 900113"/>
              <a:gd name="connsiteY3" fmla="*/ 881062 h 1347787"/>
              <a:gd name="connsiteX4" fmla="*/ 495300 w 900113"/>
              <a:gd name="connsiteY4" fmla="*/ 700087 h 1347787"/>
              <a:gd name="connsiteX5" fmla="*/ 595312 w 900113"/>
              <a:gd name="connsiteY5" fmla="*/ 585787 h 1347787"/>
              <a:gd name="connsiteX6" fmla="*/ 666750 w 900113"/>
              <a:gd name="connsiteY6" fmla="*/ 481013 h 1347787"/>
              <a:gd name="connsiteX7" fmla="*/ 711200 w 900113"/>
              <a:gd name="connsiteY7" fmla="*/ 349250 h 1347787"/>
              <a:gd name="connsiteX8" fmla="*/ 754063 w 900113"/>
              <a:gd name="connsiteY8" fmla="*/ 200025 h 1347787"/>
              <a:gd name="connsiteX9" fmla="*/ 800100 w 900113"/>
              <a:gd name="connsiteY9" fmla="*/ 85725 h 1347787"/>
              <a:gd name="connsiteX10" fmla="*/ 876300 w 900113"/>
              <a:gd name="connsiteY10" fmla="*/ 23812 h 1347787"/>
              <a:gd name="connsiteX11" fmla="*/ 900113 w 900113"/>
              <a:gd name="connsiteY11" fmla="*/ 0 h 1347787"/>
              <a:gd name="connsiteX0" fmla="*/ 0 w 900113"/>
              <a:gd name="connsiteY0" fmla="*/ 1347787 h 1347787"/>
              <a:gd name="connsiteX1" fmla="*/ 76200 w 900113"/>
              <a:gd name="connsiteY1" fmla="*/ 1204912 h 1347787"/>
              <a:gd name="connsiteX2" fmla="*/ 209550 w 900113"/>
              <a:gd name="connsiteY2" fmla="*/ 1038224 h 1347787"/>
              <a:gd name="connsiteX3" fmla="*/ 357188 w 900113"/>
              <a:gd name="connsiteY3" fmla="*/ 881062 h 1347787"/>
              <a:gd name="connsiteX4" fmla="*/ 495300 w 900113"/>
              <a:gd name="connsiteY4" fmla="*/ 700087 h 1347787"/>
              <a:gd name="connsiteX5" fmla="*/ 595312 w 900113"/>
              <a:gd name="connsiteY5" fmla="*/ 585787 h 1347787"/>
              <a:gd name="connsiteX6" fmla="*/ 666750 w 900113"/>
              <a:gd name="connsiteY6" fmla="*/ 481013 h 1347787"/>
              <a:gd name="connsiteX7" fmla="*/ 704850 w 900113"/>
              <a:gd name="connsiteY7" fmla="*/ 355600 h 1347787"/>
              <a:gd name="connsiteX8" fmla="*/ 754063 w 900113"/>
              <a:gd name="connsiteY8" fmla="*/ 200025 h 1347787"/>
              <a:gd name="connsiteX9" fmla="*/ 800100 w 900113"/>
              <a:gd name="connsiteY9" fmla="*/ 85725 h 1347787"/>
              <a:gd name="connsiteX10" fmla="*/ 876300 w 900113"/>
              <a:gd name="connsiteY10" fmla="*/ 23812 h 1347787"/>
              <a:gd name="connsiteX11" fmla="*/ 900113 w 900113"/>
              <a:gd name="connsiteY11" fmla="*/ 0 h 1347787"/>
              <a:gd name="connsiteX0" fmla="*/ 0 w 968693"/>
              <a:gd name="connsiteY0" fmla="*/ 1454467 h 1454467"/>
              <a:gd name="connsiteX1" fmla="*/ 144780 w 968693"/>
              <a:gd name="connsiteY1" fmla="*/ 1204912 h 1454467"/>
              <a:gd name="connsiteX2" fmla="*/ 278130 w 968693"/>
              <a:gd name="connsiteY2" fmla="*/ 1038224 h 1454467"/>
              <a:gd name="connsiteX3" fmla="*/ 425768 w 968693"/>
              <a:gd name="connsiteY3" fmla="*/ 881062 h 1454467"/>
              <a:gd name="connsiteX4" fmla="*/ 563880 w 968693"/>
              <a:gd name="connsiteY4" fmla="*/ 700087 h 1454467"/>
              <a:gd name="connsiteX5" fmla="*/ 663892 w 968693"/>
              <a:gd name="connsiteY5" fmla="*/ 585787 h 1454467"/>
              <a:gd name="connsiteX6" fmla="*/ 735330 w 968693"/>
              <a:gd name="connsiteY6" fmla="*/ 481013 h 1454467"/>
              <a:gd name="connsiteX7" fmla="*/ 773430 w 968693"/>
              <a:gd name="connsiteY7" fmla="*/ 355600 h 1454467"/>
              <a:gd name="connsiteX8" fmla="*/ 822643 w 968693"/>
              <a:gd name="connsiteY8" fmla="*/ 200025 h 1454467"/>
              <a:gd name="connsiteX9" fmla="*/ 868680 w 968693"/>
              <a:gd name="connsiteY9" fmla="*/ 85725 h 1454467"/>
              <a:gd name="connsiteX10" fmla="*/ 944880 w 968693"/>
              <a:gd name="connsiteY10" fmla="*/ 23812 h 1454467"/>
              <a:gd name="connsiteX11" fmla="*/ 968693 w 968693"/>
              <a:gd name="connsiteY11" fmla="*/ 0 h 1454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68693" h="1454467">
                <a:moveTo>
                  <a:pt x="0" y="1454467"/>
                </a:moveTo>
                <a:cubicBezTo>
                  <a:pt x="21431" y="1406842"/>
                  <a:pt x="98425" y="1274286"/>
                  <a:pt x="144780" y="1204912"/>
                </a:cubicBezTo>
                <a:cubicBezTo>
                  <a:pt x="191135" y="1135538"/>
                  <a:pt x="278130" y="1038224"/>
                  <a:pt x="278130" y="1038224"/>
                </a:cubicBezTo>
                <a:cubicBezTo>
                  <a:pt x="324961" y="984249"/>
                  <a:pt x="378143" y="937418"/>
                  <a:pt x="425768" y="881062"/>
                </a:cubicBezTo>
                <a:cubicBezTo>
                  <a:pt x="473393" y="824706"/>
                  <a:pt x="524193" y="749299"/>
                  <a:pt x="563880" y="700087"/>
                </a:cubicBezTo>
                <a:cubicBezTo>
                  <a:pt x="603567" y="650875"/>
                  <a:pt x="635317" y="622299"/>
                  <a:pt x="663892" y="585787"/>
                </a:cubicBezTo>
                <a:cubicBezTo>
                  <a:pt x="692467" y="549275"/>
                  <a:pt x="717074" y="519378"/>
                  <a:pt x="735330" y="481013"/>
                </a:cubicBezTo>
                <a:cubicBezTo>
                  <a:pt x="753586" y="442649"/>
                  <a:pt x="758878" y="402431"/>
                  <a:pt x="773430" y="355600"/>
                </a:cubicBezTo>
                <a:cubicBezTo>
                  <a:pt x="787982" y="308769"/>
                  <a:pt x="806768" y="245004"/>
                  <a:pt x="822643" y="200025"/>
                </a:cubicBezTo>
                <a:cubicBezTo>
                  <a:pt x="838518" y="155046"/>
                  <a:pt x="848307" y="115094"/>
                  <a:pt x="868680" y="85725"/>
                </a:cubicBezTo>
                <a:cubicBezTo>
                  <a:pt x="889053" y="56356"/>
                  <a:pt x="928211" y="38099"/>
                  <a:pt x="944880" y="23812"/>
                </a:cubicBezTo>
                <a:cubicBezTo>
                  <a:pt x="961549" y="9525"/>
                  <a:pt x="965121" y="4762"/>
                  <a:pt x="968693" y="0"/>
                </a:cubicBezTo>
              </a:path>
            </a:pathLst>
          </a:custGeom>
          <a:noFill/>
          <a:ln w="508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050"/>
          </a:p>
        </p:txBody>
      </p:sp>
      <p:sp>
        <p:nvSpPr>
          <p:cNvPr id="83" name="Elipse 82"/>
          <p:cNvSpPr/>
          <p:nvPr/>
        </p:nvSpPr>
        <p:spPr>
          <a:xfrm>
            <a:off x="1981407" y="3553530"/>
            <a:ext cx="199159" cy="169421"/>
          </a:xfrm>
          <a:prstGeom prst="ellipse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050"/>
          </a:p>
        </p:txBody>
      </p:sp>
      <p:sp>
        <p:nvSpPr>
          <p:cNvPr id="5" name="Forma libre 4"/>
          <p:cNvSpPr/>
          <p:nvPr/>
        </p:nvSpPr>
        <p:spPr>
          <a:xfrm>
            <a:off x="2914650" y="1494591"/>
            <a:ext cx="2321719" cy="987863"/>
          </a:xfrm>
          <a:custGeom>
            <a:avLst/>
            <a:gdLst>
              <a:gd name="connsiteX0" fmla="*/ 0 w 3095625"/>
              <a:gd name="connsiteY0" fmla="*/ 1331723 h 1331723"/>
              <a:gd name="connsiteX1" fmla="*/ 61913 w 3095625"/>
              <a:gd name="connsiteY1" fmla="*/ 1307910 h 1331723"/>
              <a:gd name="connsiteX2" fmla="*/ 133350 w 3095625"/>
              <a:gd name="connsiteY2" fmla="*/ 1207898 h 1331723"/>
              <a:gd name="connsiteX3" fmla="*/ 252413 w 3095625"/>
              <a:gd name="connsiteY3" fmla="*/ 855473 h 1331723"/>
              <a:gd name="connsiteX4" fmla="*/ 295275 w 3095625"/>
              <a:gd name="connsiteY4" fmla="*/ 769748 h 1331723"/>
              <a:gd name="connsiteX5" fmla="*/ 352425 w 3095625"/>
              <a:gd name="connsiteY5" fmla="*/ 712598 h 1331723"/>
              <a:gd name="connsiteX6" fmla="*/ 952500 w 3095625"/>
              <a:gd name="connsiteY6" fmla="*/ 441135 h 1331723"/>
              <a:gd name="connsiteX7" fmla="*/ 1838325 w 3095625"/>
              <a:gd name="connsiteY7" fmla="*/ 64898 h 1331723"/>
              <a:gd name="connsiteX8" fmla="*/ 2000250 w 3095625"/>
              <a:gd name="connsiteY8" fmla="*/ 12510 h 1331723"/>
              <a:gd name="connsiteX9" fmla="*/ 2209800 w 3095625"/>
              <a:gd name="connsiteY9" fmla="*/ 69660 h 1331723"/>
              <a:gd name="connsiteX10" fmla="*/ 3095625 w 3095625"/>
              <a:gd name="connsiteY10" fmla="*/ 674498 h 1331723"/>
              <a:gd name="connsiteX0" fmla="*/ 0 w 3095625"/>
              <a:gd name="connsiteY0" fmla="*/ 1331723 h 1331723"/>
              <a:gd name="connsiteX1" fmla="*/ 61913 w 3095625"/>
              <a:gd name="connsiteY1" fmla="*/ 1307910 h 1331723"/>
              <a:gd name="connsiteX2" fmla="*/ 133350 w 3095625"/>
              <a:gd name="connsiteY2" fmla="*/ 1207898 h 1331723"/>
              <a:gd name="connsiteX3" fmla="*/ 252413 w 3095625"/>
              <a:gd name="connsiteY3" fmla="*/ 855473 h 1331723"/>
              <a:gd name="connsiteX4" fmla="*/ 295275 w 3095625"/>
              <a:gd name="connsiteY4" fmla="*/ 769748 h 1331723"/>
              <a:gd name="connsiteX5" fmla="*/ 419100 w 3095625"/>
              <a:gd name="connsiteY5" fmla="*/ 664973 h 1331723"/>
              <a:gd name="connsiteX6" fmla="*/ 952500 w 3095625"/>
              <a:gd name="connsiteY6" fmla="*/ 441135 h 1331723"/>
              <a:gd name="connsiteX7" fmla="*/ 1838325 w 3095625"/>
              <a:gd name="connsiteY7" fmla="*/ 64898 h 1331723"/>
              <a:gd name="connsiteX8" fmla="*/ 2000250 w 3095625"/>
              <a:gd name="connsiteY8" fmla="*/ 12510 h 1331723"/>
              <a:gd name="connsiteX9" fmla="*/ 2209800 w 3095625"/>
              <a:gd name="connsiteY9" fmla="*/ 69660 h 1331723"/>
              <a:gd name="connsiteX10" fmla="*/ 3095625 w 3095625"/>
              <a:gd name="connsiteY10" fmla="*/ 674498 h 1331723"/>
              <a:gd name="connsiteX0" fmla="*/ 0 w 3095625"/>
              <a:gd name="connsiteY0" fmla="*/ 1331723 h 1331723"/>
              <a:gd name="connsiteX1" fmla="*/ 61913 w 3095625"/>
              <a:gd name="connsiteY1" fmla="*/ 1307910 h 1331723"/>
              <a:gd name="connsiteX2" fmla="*/ 133350 w 3095625"/>
              <a:gd name="connsiteY2" fmla="*/ 1207898 h 1331723"/>
              <a:gd name="connsiteX3" fmla="*/ 252413 w 3095625"/>
              <a:gd name="connsiteY3" fmla="*/ 855473 h 1331723"/>
              <a:gd name="connsiteX4" fmla="*/ 328612 w 3095625"/>
              <a:gd name="connsiteY4" fmla="*/ 722123 h 1331723"/>
              <a:gd name="connsiteX5" fmla="*/ 419100 w 3095625"/>
              <a:gd name="connsiteY5" fmla="*/ 664973 h 1331723"/>
              <a:gd name="connsiteX6" fmla="*/ 952500 w 3095625"/>
              <a:gd name="connsiteY6" fmla="*/ 441135 h 1331723"/>
              <a:gd name="connsiteX7" fmla="*/ 1838325 w 3095625"/>
              <a:gd name="connsiteY7" fmla="*/ 64898 h 1331723"/>
              <a:gd name="connsiteX8" fmla="*/ 2000250 w 3095625"/>
              <a:gd name="connsiteY8" fmla="*/ 12510 h 1331723"/>
              <a:gd name="connsiteX9" fmla="*/ 2209800 w 3095625"/>
              <a:gd name="connsiteY9" fmla="*/ 69660 h 1331723"/>
              <a:gd name="connsiteX10" fmla="*/ 3095625 w 3095625"/>
              <a:gd name="connsiteY10" fmla="*/ 674498 h 1331723"/>
              <a:gd name="connsiteX0" fmla="*/ 0 w 3095625"/>
              <a:gd name="connsiteY0" fmla="*/ 1323985 h 1323985"/>
              <a:gd name="connsiteX1" fmla="*/ 61913 w 3095625"/>
              <a:gd name="connsiteY1" fmla="*/ 1300172 h 1323985"/>
              <a:gd name="connsiteX2" fmla="*/ 133350 w 3095625"/>
              <a:gd name="connsiteY2" fmla="*/ 1200160 h 1323985"/>
              <a:gd name="connsiteX3" fmla="*/ 252413 w 3095625"/>
              <a:gd name="connsiteY3" fmla="*/ 847735 h 1323985"/>
              <a:gd name="connsiteX4" fmla="*/ 328612 w 3095625"/>
              <a:gd name="connsiteY4" fmla="*/ 714385 h 1323985"/>
              <a:gd name="connsiteX5" fmla="*/ 419100 w 3095625"/>
              <a:gd name="connsiteY5" fmla="*/ 657235 h 1323985"/>
              <a:gd name="connsiteX6" fmla="*/ 952500 w 3095625"/>
              <a:gd name="connsiteY6" fmla="*/ 433397 h 1323985"/>
              <a:gd name="connsiteX7" fmla="*/ 1838325 w 3095625"/>
              <a:gd name="connsiteY7" fmla="*/ 57160 h 1323985"/>
              <a:gd name="connsiteX8" fmla="*/ 2000250 w 3095625"/>
              <a:gd name="connsiteY8" fmla="*/ 4772 h 1323985"/>
              <a:gd name="connsiteX9" fmla="*/ 2238375 w 3095625"/>
              <a:gd name="connsiteY9" fmla="*/ 90497 h 1323985"/>
              <a:gd name="connsiteX10" fmla="*/ 3095625 w 3095625"/>
              <a:gd name="connsiteY10" fmla="*/ 666760 h 1323985"/>
              <a:gd name="connsiteX0" fmla="*/ 0 w 3095625"/>
              <a:gd name="connsiteY0" fmla="*/ 1317151 h 1317151"/>
              <a:gd name="connsiteX1" fmla="*/ 61913 w 3095625"/>
              <a:gd name="connsiteY1" fmla="*/ 1293338 h 1317151"/>
              <a:gd name="connsiteX2" fmla="*/ 133350 w 3095625"/>
              <a:gd name="connsiteY2" fmla="*/ 1193326 h 1317151"/>
              <a:gd name="connsiteX3" fmla="*/ 252413 w 3095625"/>
              <a:gd name="connsiteY3" fmla="*/ 840901 h 1317151"/>
              <a:gd name="connsiteX4" fmla="*/ 328612 w 3095625"/>
              <a:gd name="connsiteY4" fmla="*/ 707551 h 1317151"/>
              <a:gd name="connsiteX5" fmla="*/ 419100 w 3095625"/>
              <a:gd name="connsiteY5" fmla="*/ 650401 h 1317151"/>
              <a:gd name="connsiteX6" fmla="*/ 952500 w 3095625"/>
              <a:gd name="connsiteY6" fmla="*/ 426563 h 1317151"/>
              <a:gd name="connsiteX7" fmla="*/ 1838325 w 3095625"/>
              <a:gd name="connsiteY7" fmla="*/ 50326 h 1317151"/>
              <a:gd name="connsiteX8" fmla="*/ 2038350 w 3095625"/>
              <a:gd name="connsiteY8" fmla="*/ 7463 h 1317151"/>
              <a:gd name="connsiteX9" fmla="*/ 2238375 w 3095625"/>
              <a:gd name="connsiteY9" fmla="*/ 83663 h 1317151"/>
              <a:gd name="connsiteX10" fmla="*/ 3095625 w 3095625"/>
              <a:gd name="connsiteY10" fmla="*/ 659926 h 1317151"/>
              <a:gd name="connsiteX0" fmla="*/ 0 w 3095625"/>
              <a:gd name="connsiteY0" fmla="*/ 1317151 h 1317151"/>
              <a:gd name="connsiteX1" fmla="*/ 61913 w 3095625"/>
              <a:gd name="connsiteY1" fmla="*/ 1293338 h 1317151"/>
              <a:gd name="connsiteX2" fmla="*/ 133350 w 3095625"/>
              <a:gd name="connsiteY2" fmla="*/ 1193326 h 1317151"/>
              <a:gd name="connsiteX3" fmla="*/ 247651 w 3095625"/>
              <a:gd name="connsiteY3" fmla="*/ 840901 h 1317151"/>
              <a:gd name="connsiteX4" fmla="*/ 328612 w 3095625"/>
              <a:gd name="connsiteY4" fmla="*/ 707551 h 1317151"/>
              <a:gd name="connsiteX5" fmla="*/ 419100 w 3095625"/>
              <a:gd name="connsiteY5" fmla="*/ 650401 h 1317151"/>
              <a:gd name="connsiteX6" fmla="*/ 952500 w 3095625"/>
              <a:gd name="connsiteY6" fmla="*/ 426563 h 1317151"/>
              <a:gd name="connsiteX7" fmla="*/ 1838325 w 3095625"/>
              <a:gd name="connsiteY7" fmla="*/ 50326 h 1317151"/>
              <a:gd name="connsiteX8" fmla="*/ 2038350 w 3095625"/>
              <a:gd name="connsiteY8" fmla="*/ 7463 h 1317151"/>
              <a:gd name="connsiteX9" fmla="*/ 2238375 w 3095625"/>
              <a:gd name="connsiteY9" fmla="*/ 83663 h 1317151"/>
              <a:gd name="connsiteX10" fmla="*/ 3095625 w 3095625"/>
              <a:gd name="connsiteY10" fmla="*/ 659926 h 1317151"/>
              <a:gd name="connsiteX0" fmla="*/ 0 w 3095625"/>
              <a:gd name="connsiteY0" fmla="*/ 1317151 h 1317151"/>
              <a:gd name="connsiteX1" fmla="*/ 61913 w 3095625"/>
              <a:gd name="connsiteY1" fmla="*/ 1293338 h 1317151"/>
              <a:gd name="connsiteX2" fmla="*/ 133350 w 3095625"/>
              <a:gd name="connsiteY2" fmla="*/ 1179038 h 1317151"/>
              <a:gd name="connsiteX3" fmla="*/ 247651 w 3095625"/>
              <a:gd name="connsiteY3" fmla="*/ 840901 h 1317151"/>
              <a:gd name="connsiteX4" fmla="*/ 328612 w 3095625"/>
              <a:gd name="connsiteY4" fmla="*/ 707551 h 1317151"/>
              <a:gd name="connsiteX5" fmla="*/ 419100 w 3095625"/>
              <a:gd name="connsiteY5" fmla="*/ 650401 h 1317151"/>
              <a:gd name="connsiteX6" fmla="*/ 952500 w 3095625"/>
              <a:gd name="connsiteY6" fmla="*/ 426563 h 1317151"/>
              <a:gd name="connsiteX7" fmla="*/ 1838325 w 3095625"/>
              <a:gd name="connsiteY7" fmla="*/ 50326 h 1317151"/>
              <a:gd name="connsiteX8" fmla="*/ 2038350 w 3095625"/>
              <a:gd name="connsiteY8" fmla="*/ 7463 h 1317151"/>
              <a:gd name="connsiteX9" fmla="*/ 2238375 w 3095625"/>
              <a:gd name="connsiteY9" fmla="*/ 83663 h 1317151"/>
              <a:gd name="connsiteX10" fmla="*/ 3095625 w 3095625"/>
              <a:gd name="connsiteY10" fmla="*/ 659926 h 1317151"/>
              <a:gd name="connsiteX0" fmla="*/ 0 w 3095625"/>
              <a:gd name="connsiteY0" fmla="*/ 1317151 h 1317151"/>
              <a:gd name="connsiteX1" fmla="*/ 57151 w 3095625"/>
              <a:gd name="connsiteY1" fmla="*/ 1283813 h 1317151"/>
              <a:gd name="connsiteX2" fmla="*/ 133350 w 3095625"/>
              <a:gd name="connsiteY2" fmla="*/ 1179038 h 1317151"/>
              <a:gd name="connsiteX3" fmla="*/ 247651 w 3095625"/>
              <a:gd name="connsiteY3" fmla="*/ 840901 h 1317151"/>
              <a:gd name="connsiteX4" fmla="*/ 328612 w 3095625"/>
              <a:gd name="connsiteY4" fmla="*/ 707551 h 1317151"/>
              <a:gd name="connsiteX5" fmla="*/ 419100 w 3095625"/>
              <a:gd name="connsiteY5" fmla="*/ 650401 h 1317151"/>
              <a:gd name="connsiteX6" fmla="*/ 952500 w 3095625"/>
              <a:gd name="connsiteY6" fmla="*/ 426563 h 1317151"/>
              <a:gd name="connsiteX7" fmla="*/ 1838325 w 3095625"/>
              <a:gd name="connsiteY7" fmla="*/ 50326 h 1317151"/>
              <a:gd name="connsiteX8" fmla="*/ 2038350 w 3095625"/>
              <a:gd name="connsiteY8" fmla="*/ 7463 h 1317151"/>
              <a:gd name="connsiteX9" fmla="*/ 2238375 w 3095625"/>
              <a:gd name="connsiteY9" fmla="*/ 83663 h 1317151"/>
              <a:gd name="connsiteX10" fmla="*/ 3095625 w 3095625"/>
              <a:gd name="connsiteY10" fmla="*/ 659926 h 1317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095625" h="1317151">
                <a:moveTo>
                  <a:pt x="0" y="1317151"/>
                </a:moveTo>
                <a:cubicBezTo>
                  <a:pt x="19844" y="1315563"/>
                  <a:pt x="34926" y="1306832"/>
                  <a:pt x="57151" y="1283813"/>
                </a:cubicBezTo>
                <a:cubicBezTo>
                  <a:pt x="79376" y="1260794"/>
                  <a:pt x="101600" y="1252857"/>
                  <a:pt x="133350" y="1179038"/>
                </a:cubicBezTo>
                <a:cubicBezTo>
                  <a:pt x="165100" y="1105219"/>
                  <a:pt x="215107" y="919482"/>
                  <a:pt x="247651" y="840901"/>
                </a:cubicBezTo>
                <a:cubicBezTo>
                  <a:pt x="280195" y="762320"/>
                  <a:pt x="300037" y="739301"/>
                  <a:pt x="328612" y="707551"/>
                </a:cubicBezTo>
                <a:cubicBezTo>
                  <a:pt x="357187" y="675801"/>
                  <a:pt x="315119" y="697232"/>
                  <a:pt x="419100" y="650401"/>
                </a:cubicBezTo>
                <a:cubicBezTo>
                  <a:pt x="523081" y="603570"/>
                  <a:pt x="715963" y="526575"/>
                  <a:pt x="952500" y="426563"/>
                </a:cubicBezTo>
                <a:lnTo>
                  <a:pt x="1838325" y="50326"/>
                </a:lnTo>
                <a:cubicBezTo>
                  <a:pt x="2019300" y="-19524"/>
                  <a:pt x="1971675" y="1907"/>
                  <a:pt x="2038350" y="7463"/>
                </a:cubicBezTo>
                <a:cubicBezTo>
                  <a:pt x="2105025" y="13019"/>
                  <a:pt x="2062163" y="-25081"/>
                  <a:pt x="2238375" y="83663"/>
                </a:cubicBezTo>
                <a:cubicBezTo>
                  <a:pt x="2414587" y="192407"/>
                  <a:pt x="2743993" y="412672"/>
                  <a:pt x="3095625" y="659926"/>
                </a:cubicBezTo>
              </a:path>
            </a:pathLst>
          </a:custGeom>
          <a:noFill/>
          <a:ln w="508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050"/>
          </a:p>
        </p:txBody>
      </p:sp>
      <p:sp>
        <p:nvSpPr>
          <p:cNvPr id="94" name="Forma libre 93"/>
          <p:cNvSpPr/>
          <p:nvPr/>
        </p:nvSpPr>
        <p:spPr>
          <a:xfrm>
            <a:off x="2884263" y="1441854"/>
            <a:ext cx="2393156" cy="992989"/>
          </a:xfrm>
          <a:custGeom>
            <a:avLst/>
            <a:gdLst>
              <a:gd name="connsiteX0" fmla="*/ 0 w 3095625"/>
              <a:gd name="connsiteY0" fmla="*/ 1331723 h 1331723"/>
              <a:gd name="connsiteX1" fmla="*/ 61913 w 3095625"/>
              <a:gd name="connsiteY1" fmla="*/ 1307910 h 1331723"/>
              <a:gd name="connsiteX2" fmla="*/ 133350 w 3095625"/>
              <a:gd name="connsiteY2" fmla="*/ 1207898 h 1331723"/>
              <a:gd name="connsiteX3" fmla="*/ 252413 w 3095625"/>
              <a:gd name="connsiteY3" fmla="*/ 855473 h 1331723"/>
              <a:gd name="connsiteX4" fmla="*/ 295275 w 3095625"/>
              <a:gd name="connsiteY4" fmla="*/ 769748 h 1331723"/>
              <a:gd name="connsiteX5" fmla="*/ 352425 w 3095625"/>
              <a:gd name="connsiteY5" fmla="*/ 712598 h 1331723"/>
              <a:gd name="connsiteX6" fmla="*/ 952500 w 3095625"/>
              <a:gd name="connsiteY6" fmla="*/ 441135 h 1331723"/>
              <a:gd name="connsiteX7" fmla="*/ 1838325 w 3095625"/>
              <a:gd name="connsiteY7" fmla="*/ 64898 h 1331723"/>
              <a:gd name="connsiteX8" fmla="*/ 2000250 w 3095625"/>
              <a:gd name="connsiteY8" fmla="*/ 12510 h 1331723"/>
              <a:gd name="connsiteX9" fmla="*/ 2209800 w 3095625"/>
              <a:gd name="connsiteY9" fmla="*/ 69660 h 1331723"/>
              <a:gd name="connsiteX10" fmla="*/ 3095625 w 3095625"/>
              <a:gd name="connsiteY10" fmla="*/ 674498 h 1331723"/>
              <a:gd name="connsiteX0" fmla="*/ 0 w 3095625"/>
              <a:gd name="connsiteY0" fmla="*/ 1331723 h 1331723"/>
              <a:gd name="connsiteX1" fmla="*/ 61913 w 3095625"/>
              <a:gd name="connsiteY1" fmla="*/ 1307910 h 1331723"/>
              <a:gd name="connsiteX2" fmla="*/ 133350 w 3095625"/>
              <a:gd name="connsiteY2" fmla="*/ 1207898 h 1331723"/>
              <a:gd name="connsiteX3" fmla="*/ 252413 w 3095625"/>
              <a:gd name="connsiteY3" fmla="*/ 855473 h 1331723"/>
              <a:gd name="connsiteX4" fmla="*/ 295275 w 3095625"/>
              <a:gd name="connsiteY4" fmla="*/ 769748 h 1331723"/>
              <a:gd name="connsiteX5" fmla="*/ 419100 w 3095625"/>
              <a:gd name="connsiteY5" fmla="*/ 664973 h 1331723"/>
              <a:gd name="connsiteX6" fmla="*/ 952500 w 3095625"/>
              <a:gd name="connsiteY6" fmla="*/ 441135 h 1331723"/>
              <a:gd name="connsiteX7" fmla="*/ 1838325 w 3095625"/>
              <a:gd name="connsiteY7" fmla="*/ 64898 h 1331723"/>
              <a:gd name="connsiteX8" fmla="*/ 2000250 w 3095625"/>
              <a:gd name="connsiteY8" fmla="*/ 12510 h 1331723"/>
              <a:gd name="connsiteX9" fmla="*/ 2209800 w 3095625"/>
              <a:gd name="connsiteY9" fmla="*/ 69660 h 1331723"/>
              <a:gd name="connsiteX10" fmla="*/ 3095625 w 3095625"/>
              <a:gd name="connsiteY10" fmla="*/ 674498 h 1331723"/>
              <a:gd name="connsiteX0" fmla="*/ 0 w 3095625"/>
              <a:gd name="connsiteY0" fmla="*/ 1331723 h 1331723"/>
              <a:gd name="connsiteX1" fmla="*/ 61913 w 3095625"/>
              <a:gd name="connsiteY1" fmla="*/ 1307910 h 1331723"/>
              <a:gd name="connsiteX2" fmla="*/ 133350 w 3095625"/>
              <a:gd name="connsiteY2" fmla="*/ 1207898 h 1331723"/>
              <a:gd name="connsiteX3" fmla="*/ 252413 w 3095625"/>
              <a:gd name="connsiteY3" fmla="*/ 855473 h 1331723"/>
              <a:gd name="connsiteX4" fmla="*/ 328612 w 3095625"/>
              <a:gd name="connsiteY4" fmla="*/ 722123 h 1331723"/>
              <a:gd name="connsiteX5" fmla="*/ 419100 w 3095625"/>
              <a:gd name="connsiteY5" fmla="*/ 664973 h 1331723"/>
              <a:gd name="connsiteX6" fmla="*/ 952500 w 3095625"/>
              <a:gd name="connsiteY6" fmla="*/ 441135 h 1331723"/>
              <a:gd name="connsiteX7" fmla="*/ 1838325 w 3095625"/>
              <a:gd name="connsiteY7" fmla="*/ 64898 h 1331723"/>
              <a:gd name="connsiteX8" fmla="*/ 2000250 w 3095625"/>
              <a:gd name="connsiteY8" fmla="*/ 12510 h 1331723"/>
              <a:gd name="connsiteX9" fmla="*/ 2209800 w 3095625"/>
              <a:gd name="connsiteY9" fmla="*/ 69660 h 1331723"/>
              <a:gd name="connsiteX10" fmla="*/ 3095625 w 3095625"/>
              <a:gd name="connsiteY10" fmla="*/ 674498 h 1331723"/>
              <a:gd name="connsiteX0" fmla="*/ 0 w 3095625"/>
              <a:gd name="connsiteY0" fmla="*/ 1323985 h 1323985"/>
              <a:gd name="connsiteX1" fmla="*/ 61913 w 3095625"/>
              <a:gd name="connsiteY1" fmla="*/ 1300172 h 1323985"/>
              <a:gd name="connsiteX2" fmla="*/ 133350 w 3095625"/>
              <a:gd name="connsiteY2" fmla="*/ 1200160 h 1323985"/>
              <a:gd name="connsiteX3" fmla="*/ 252413 w 3095625"/>
              <a:gd name="connsiteY3" fmla="*/ 847735 h 1323985"/>
              <a:gd name="connsiteX4" fmla="*/ 328612 w 3095625"/>
              <a:gd name="connsiteY4" fmla="*/ 714385 h 1323985"/>
              <a:gd name="connsiteX5" fmla="*/ 419100 w 3095625"/>
              <a:gd name="connsiteY5" fmla="*/ 657235 h 1323985"/>
              <a:gd name="connsiteX6" fmla="*/ 952500 w 3095625"/>
              <a:gd name="connsiteY6" fmla="*/ 433397 h 1323985"/>
              <a:gd name="connsiteX7" fmla="*/ 1838325 w 3095625"/>
              <a:gd name="connsiteY7" fmla="*/ 57160 h 1323985"/>
              <a:gd name="connsiteX8" fmla="*/ 2000250 w 3095625"/>
              <a:gd name="connsiteY8" fmla="*/ 4772 h 1323985"/>
              <a:gd name="connsiteX9" fmla="*/ 2238375 w 3095625"/>
              <a:gd name="connsiteY9" fmla="*/ 90497 h 1323985"/>
              <a:gd name="connsiteX10" fmla="*/ 3095625 w 3095625"/>
              <a:gd name="connsiteY10" fmla="*/ 666760 h 1323985"/>
              <a:gd name="connsiteX0" fmla="*/ 0 w 3095625"/>
              <a:gd name="connsiteY0" fmla="*/ 1317151 h 1317151"/>
              <a:gd name="connsiteX1" fmla="*/ 61913 w 3095625"/>
              <a:gd name="connsiteY1" fmla="*/ 1293338 h 1317151"/>
              <a:gd name="connsiteX2" fmla="*/ 133350 w 3095625"/>
              <a:gd name="connsiteY2" fmla="*/ 1193326 h 1317151"/>
              <a:gd name="connsiteX3" fmla="*/ 252413 w 3095625"/>
              <a:gd name="connsiteY3" fmla="*/ 840901 h 1317151"/>
              <a:gd name="connsiteX4" fmla="*/ 328612 w 3095625"/>
              <a:gd name="connsiteY4" fmla="*/ 707551 h 1317151"/>
              <a:gd name="connsiteX5" fmla="*/ 419100 w 3095625"/>
              <a:gd name="connsiteY5" fmla="*/ 650401 h 1317151"/>
              <a:gd name="connsiteX6" fmla="*/ 952500 w 3095625"/>
              <a:gd name="connsiteY6" fmla="*/ 426563 h 1317151"/>
              <a:gd name="connsiteX7" fmla="*/ 1838325 w 3095625"/>
              <a:gd name="connsiteY7" fmla="*/ 50326 h 1317151"/>
              <a:gd name="connsiteX8" fmla="*/ 2038350 w 3095625"/>
              <a:gd name="connsiteY8" fmla="*/ 7463 h 1317151"/>
              <a:gd name="connsiteX9" fmla="*/ 2238375 w 3095625"/>
              <a:gd name="connsiteY9" fmla="*/ 83663 h 1317151"/>
              <a:gd name="connsiteX10" fmla="*/ 3095625 w 3095625"/>
              <a:gd name="connsiteY10" fmla="*/ 659926 h 1317151"/>
              <a:gd name="connsiteX0" fmla="*/ 0 w 3095625"/>
              <a:gd name="connsiteY0" fmla="*/ 1317151 h 1317151"/>
              <a:gd name="connsiteX1" fmla="*/ 61913 w 3095625"/>
              <a:gd name="connsiteY1" fmla="*/ 1293338 h 1317151"/>
              <a:gd name="connsiteX2" fmla="*/ 133350 w 3095625"/>
              <a:gd name="connsiteY2" fmla="*/ 1193326 h 1317151"/>
              <a:gd name="connsiteX3" fmla="*/ 247651 w 3095625"/>
              <a:gd name="connsiteY3" fmla="*/ 840901 h 1317151"/>
              <a:gd name="connsiteX4" fmla="*/ 328612 w 3095625"/>
              <a:gd name="connsiteY4" fmla="*/ 707551 h 1317151"/>
              <a:gd name="connsiteX5" fmla="*/ 419100 w 3095625"/>
              <a:gd name="connsiteY5" fmla="*/ 650401 h 1317151"/>
              <a:gd name="connsiteX6" fmla="*/ 952500 w 3095625"/>
              <a:gd name="connsiteY6" fmla="*/ 426563 h 1317151"/>
              <a:gd name="connsiteX7" fmla="*/ 1838325 w 3095625"/>
              <a:gd name="connsiteY7" fmla="*/ 50326 h 1317151"/>
              <a:gd name="connsiteX8" fmla="*/ 2038350 w 3095625"/>
              <a:gd name="connsiteY8" fmla="*/ 7463 h 1317151"/>
              <a:gd name="connsiteX9" fmla="*/ 2238375 w 3095625"/>
              <a:gd name="connsiteY9" fmla="*/ 83663 h 1317151"/>
              <a:gd name="connsiteX10" fmla="*/ 3095625 w 3095625"/>
              <a:gd name="connsiteY10" fmla="*/ 659926 h 1317151"/>
              <a:gd name="connsiteX0" fmla="*/ 0 w 3095625"/>
              <a:gd name="connsiteY0" fmla="*/ 1317151 h 1317151"/>
              <a:gd name="connsiteX1" fmla="*/ 61913 w 3095625"/>
              <a:gd name="connsiteY1" fmla="*/ 1293338 h 1317151"/>
              <a:gd name="connsiteX2" fmla="*/ 133350 w 3095625"/>
              <a:gd name="connsiteY2" fmla="*/ 1179038 h 1317151"/>
              <a:gd name="connsiteX3" fmla="*/ 247651 w 3095625"/>
              <a:gd name="connsiteY3" fmla="*/ 840901 h 1317151"/>
              <a:gd name="connsiteX4" fmla="*/ 328612 w 3095625"/>
              <a:gd name="connsiteY4" fmla="*/ 707551 h 1317151"/>
              <a:gd name="connsiteX5" fmla="*/ 419100 w 3095625"/>
              <a:gd name="connsiteY5" fmla="*/ 650401 h 1317151"/>
              <a:gd name="connsiteX6" fmla="*/ 952500 w 3095625"/>
              <a:gd name="connsiteY6" fmla="*/ 426563 h 1317151"/>
              <a:gd name="connsiteX7" fmla="*/ 1838325 w 3095625"/>
              <a:gd name="connsiteY7" fmla="*/ 50326 h 1317151"/>
              <a:gd name="connsiteX8" fmla="*/ 2038350 w 3095625"/>
              <a:gd name="connsiteY8" fmla="*/ 7463 h 1317151"/>
              <a:gd name="connsiteX9" fmla="*/ 2238375 w 3095625"/>
              <a:gd name="connsiteY9" fmla="*/ 83663 h 1317151"/>
              <a:gd name="connsiteX10" fmla="*/ 3095625 w 3095625"/>
              <a:gd name="connsiteY10" fmla="*/ 659926 h 1317151"/>
              <a:gd name="connsiteX0" fmla="*/ 0 w 3095625"/>
              <a:gd name="connsiteY0" fmla="*/ 1317151 h 1317151"/>
              <a:gd name="connsiteX1" fmla="*/ 57151 w 3095625"/>
              <a:gd name="connsiteY1" fmla="*/ 1283813 h 1317151"/>
              <a:gd name="connsiteX2" fmla="*/ 133350 w 3095625"/>
              <a:gd name="connsiteY2" fmla="*/ 1179038 h 1317151"/>
              <a:gd name="connsiteX3" fmla="*/ 247651 w 3095625"/>
              <a:gd name="connsiteY3" fmla="*/ 840901 h 1317151"/>
              <a:gd name="connsiteX4" fmla="*/ 328612 w 3095625"/>
              <a:gd name="connsiteY4" fmla="*/ 707551 h 1317151"/>
              <a:gd name="connsiteX5" fmla="*/ 419100 w 3095625"/>
              <a:gd name="connsiteY5" fmla="*/ 650401 h 1317151"/>
              <a:gd name="connsiteX6" fmla="*/ 952500 w 3095625"/>
              <a:gd name="connsiteY6" fmla="*/ 426563 h 1317151"/>
              <a:gd name="connsiteX7" fmla="*/ 1838325 w 3095625"/>
              <a:gd name="connsiteY7" fmla="*/ 50326 h 1317151"/>
              <a:gd name="connsiteX8" fmla="*/ 2038350 w 3095625"/>
              <a:gd name="connsiteY8" fmla="*/ 7463 h 1317151"/>
              <a:gd name="connsiteX9" fmla="*/ 2238375 w 3095625"/>
              <a:gd name="connsiteY9" fmla="*/ 83663 h 1317151"/>
              <a:gd name="connsiteX10" fmla="*/ 3095625 w 3095625"/>
              <a:gd name="connsiteY10" fmla="*/ 659926 h 1317151"/>
              <a:gd name="connsiteX0" fmla="*/ 0 w 3200400"/>
              <a:gd name="connsiteY0" fmla="*/ 1317151 h 1317151"/>
              <a:gd name="connsiteX1" fmla="*/ 57151 w 3200400"/>
              <a:gd name="connsiteY1" fmla="*/ 1283813 h 1317151"/>
              <a:gd name="connsiteX2" fmla="*/ 133350 w 3200400"/>
              <a:gd name="connsiteY2" fmla="*/ 1179038 h 1317151"/>
              <a:gd name="connsiteX3" fmla="*/ 247651 w 3200400"/>
              <a:gd name="connsiteY3" fmla="*/ 840901 h 1317151"/>
              <a:gd name="connsiteX4" fmla="*/ 328612 w 3200400"/>
              <a:gd name="connsiteY4" fmla="*/ 707551 h 1317151"/>
              <a:gd name="connsiteX5" fmla="*/ 419100 w 3200400"/>
              <a:gd name="connsiteY5" fmla="*/ 650401 h 1317151"/>
              <a:gd name="connsiteX6" fmla="*/ 952500 w 3200400"/>
              <a:gd name="connsiteY6" fmla="*/ 426563 h 1317151"/>
              <a:gd name="connsiteX7" fmla="*/ 1838325 w 3200400"/>
              <a:gd name="connsiteY7" fmla="*/ 50326 h 1317151"/>
              <a:gd name="connsiteX8" fmla="*/ 2038350 w 3200400"/>
              <a:gd name="connsiteY8" fmla="*/ 7463 h 1317151"/>
              <a:gd name="connsiteX9" fmla="*/ 2238375 w 3200400"/>
              <a:gd name="connsiteY9" fmla="*/ 83663 h 1317151"/>
              <a:gd name="connsiteX10" fmla="*/ 3200400 w 3200400"/>
              <a:gd name="connsiteY10" fmla="*/ 669451 h 1317151"/>
              <a:gd name="connsiteX0" fmla="*/ 0 w 3200400"/>
              <a:gd name="connsiteY0" fmla="*/ 1317151 h 1317151"/>
              <a:gd name="connsiteX1" fmla="*/ 57151 w 3200400"/>
              <a:gd name="connsiteY1" fmla="*/ 1283813 h 1317151"/>
              <a:gd name="connsiteX2" fmla="*/ 133350 w 3200400"/>
              <a:gd name="connsiteY2" fmla="*/ 1179038 h 1317151"/>
              <a:gd name="connsiteX3" fmla="*/ 247651 w 3200400"/>
              <a:gd name="connsiteY3" fmla="*/ 840901 h 1317151"/>
              <a:gd name="connsiteX4" fmla="*/ 328612 w 3200400"/>
              <a:gd name="connsiteY4" fmla="*/ 707551 h 1317151"/>
              <a:gd name="connsiteX5" fmla="*/ 419100 w 3200400"/>
              <a:gd name="connsiteY5" fmla="*/ 650401 h 1317151"/>
              <a:gd name="connsiteX6" fmla="*/ 952500 w 3200400"/>
              <a:gd name="connsiteY6" fmla="*/ 426563 h 1317151"/>
              <a:gd name="connsiteX7" fmla="*/ 1838325 w 3200400"/>
              <a:gd name="connsiteY7" fmla="*/ 50326 h 1317151"/>
              <a:gd name="connsiteX8" fmla="*/ 2038350 w 3200400"/>
              <a:gd name="connsiteY8" fmla="*/ 7463 h 1317151"/>
              <a:gd name="connsiteX9" fmla="*/ 2286000 w 3200400"/>
              <a:gd name="connsiteY9" fmla="*/ 83663 h 1317151"/>
              <a:gd name="connsiteX10" fmla="*/ 3200400 w 3200400"/>
              <a:gd name="connsiteY10" fmla="*/ 669451 h 1317151"/>
              <a:gd name="connsiteX0" fmla="*/ 0 w 3200400"/>
              <a:gd name="connsiteY0" fmla="*/ 1320455 h 1320455"/>
              <a:gd name="connsiteX1" fmla="*/ 57151 w 3200400"/>
              <a:gd name="connsiteY1" fmla="*/ 1287117 h 1320455"/>
              <a:gd name="connsiteX2" fmla="*/ 133350 w 3200400"/>
              <a:gd name="connsiteY2" fmla="*/ 1182342 h 1320455"/>
              <a:gd name="connsiteX3" fmla="*/ 247651 w 3200400"/>
              <a:gd name="connsiteY3" fmla="*/ 844205 h 1320455"/>
              <a:gd name="connsiteX4" fmla="*/ 328612 w 3200400"/>
              <a:gd name="connsiteY4" fmla="*/ 710855 h 1320455"/>
              <a:gd name="connsiteX5" fmla="*/ 419100 w 3200400"/>
              <a:gd name="connsiteY5" fmla="*/ 653705 h 1320455"/>
              <a:gd name="connsiteX6" fmla="*/ 952500 w 3200400"/>
              <a:gd name="connsiteY6" fmla="*/ 429867 h 1320455"/>
              <a:gd name="connsiteX7" fmla="*/ 1838325 w 3200400"/>
              <a:gd name="connsiteY7" fmla="*/ 53630 h 1320455"/>
              <a:gd name="connsiteX8" fmla="*/ 2100263 w 3200400"/>
              <a:gd name="connsiteY8" fmla="*/ 6004 h 1320455"/>
              <a:gd name="connsiteX9" fmla="*/ 2286000 w 3200400"/>
              <a:gd name="connsiteY9" fmla="*/ 86967 h 1320455"/>
              <a:gd name="connsiteX10" fmla="*/ 3200400 w 3200400"/>
              <a:gd name="connsiteY10" fmla="*/ 672755 h 1320455"/>
              <a:gd name="connsiteX0" fmla="*/ 0 w 3190875"/>
              <a:gd name="connsiteY0" fmla="*/ 1320455 h 1320455"/>
              <a:gd name="connsiteX1" fmla="*/ 57151 w 3190875"/>
              <a:gd name="connsiteY1" fmla="*/ 1287117 h 1320455"/>
              <a:gd name="connsiteX2" fmla="*/ 133350 w 3190875"/>
              <a:gd name="connsiteY2" fmla="*/ 1182342 h 1320455"/>
              <a:gd name="connsiteX3" fmla="*/ 247651 w 3190875"/>
              <a:gd name="connsiteY3" fmla="*/ 844205 h 1320455"/>
              <a:gd name="connsiteX4" fmla="*/ 328612 w 3190875"/>
              <a:gd name="connsiteY4" fmla="*/ 710855 h 1320455"/>
              <a:gd name="connsiteX5" fmla="*/ 419100 w 3190875"/>
              <a:gd name="connsiteY5" fmla="*/ 653705 h 1320455"/>
              <a:gd name="connsiteX6" fmla="*/ 952500 w 3190875"/>
              <a:gd name="connsiteY6" fmla="*/ 429867 h 1320455"/>
              <a:gd name="connsiteX7" fmla="*/ 1838325 w 3190875"/>
              <a:gd name="connsiteY7" fmla="*/ 53630 h 1320455"/>
              <a:gd name="connsiteX8" fmla="*/ 2100263 w 3190875"/>
              <a:gd name="connsiteY8" fmla="*/ 6004 h 1320455"/>
              <a:gd name="connsiteX9" fmla="*/ 2286000 w 3190875"/>
              <a:gd name="connsiteY9" fmla="*/ 86967 h 1320455"/>
              <a:gd name="connsiteX10" fmla="*/ 3190875 w 3190875"/>
              <a:gd name="connsiteY10" fmla="*/ 687042 h 1320455"/>
              <a:gd name="connsiteX0" fmla="*/ 0 w 3190875"/>
              <a:gd name="connsiteY0" fmla="*/ 1323985 h 1323985"/>
              <a:gd name="connsiteX1" fmla="*/ 57151 w 3190875"/>
              <a:gd name="connsiteY1" fmla="*/ 1290647 h 1323985"/>
              <a:gd name="connsiteX2" fmla="*/ 133350 w 3190875"/>
              <a:gd name="connsiteY2" fmla="*/ 1185872 h 1323985"/>
              <a:gd name="connsiteX3" fmla="*/ 247651 w 3190875"/>
              <a:gd name="connsiteY3" fmla="*/ 847735 h 1323985"/>
              <a:gd name="connsiteX4" fmla="*/ 328612 w 3190875"/>
              <a:gd name="connsiteY4" fmla="*/ 714385 h 1323985"/>
              <a:gd name="connsiteX5" fmla="*/ 419100 w 3190875"/>
              <a:gd name="connsiteY5" fmla="*/ 657235 h 1323985"/>
              <a:gd name="connsiteX6" fmla="*/ 952500 w 3190875"/>
              <a:gd name="connsiteY6" fmla="*/ 433397 h 1323985"/>
              <a:gd name="connsiteX7" fmla="*/ 1838325 w 3190875"/>
              <a:gd name="connsiteY7" fmla="*/ 57160 h 1323985"/>
              <a:gd name="connsiteX8" fmla="*/ 2109788 w 3190875"/>
              <a:gd name="connsiteY8" fmla="*/ 4771 h 1323985"/>
              <a:gd name="connsiteX9" fmla="*/ 2286000 w 3190875"/>
              <a:gd name="connsiteY9" fmla="*/ 90497 h 1323985"/>
              <a:gd name="connsiteX10" fmla="*/ 3190875 w 3190875"/>
              <a:gd name="connsiteY10" fmla="*/ 690572 h 1323985"/>
              <a:gd name="connsiteX0" fmla="*/ 0 w 3190875"/>
              <a:gd name="connsiteY0" fmla="*/ 1323985 h 1323985"/>
              <a:gd name="connsiteX1" fmla="*/ 57151 w 3190875"/>
              <a:gd name="connsiteY1" fmla="*/ 1290647 h 1323985"/>
              <a:gd name="connsiteX2" fmla="*/ 133350 w 3190875"/>
              <a:gd name="connsiteY2" fmla="*/ 1185872 h 1323985"/>
              <a:gd name="connsiteX3" fmla="*/ 247651 w 3190875"/>
              <a:gd name="connsiteY3" fmla="*/ 847735 h 1323985"/>
              <a:gd name="connsiteX4" fmla="*/ 328612 w 3190875"/>
              <a:gd name="connsiteY4" fmla="*/ 714385 h 1323985"/>
              <a:gd name="connsiteX5" fmla="*/ 419100 w 3190875"/>
              <a:gd name="connsiteY5" fmla="*/ 657235 h 1323985"/>
              <a:gd name="connsiteX6" fmla="*/ 952500 w 3190875"/>
              <a:gd name="connsiteY6" fmla="*/ 433397 h 1323985"/>
              <a:gd name="connsiteX7" fmla="*/ 1838325 w 3190875"/>
              <a:gd name="connsiteY7" fmla="*/ 57160 h 1323985"/>
              <a:gd name="connsiteX8" fmla="*/ 2109788 w 3190875"/>
              <a:gd name="connsiteY8" fmla="*/ 4771 h 1323985"/>
              <a:gd name="connsiteX9" fmla="*/ 2286000 w 3190875"/>
              <a:gd name="connsiteY9" fmla="*/ 90497 h 1323985"/>
              <a:gd name="connsiteX10" fmla="*/ 3190875 w 3190875"/>
              <a:gd name="connsiteY10" fmla="*/ 690572 h 1323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190875" h="1323985">
                <a:moveTo>
                  <a:pt x="0" y="1323985"/>
                </a:moveTo>
                <a:cubicBezTo>
                  <a:pt x="19844" y="1322397"/>
                  <a:pt x="34926" y="1313666"/>
                  <a:pt x="57151" y="1290647"/>
                </a:cubicBezTo>
                <a:cubicBezTo>
                  <a:pt x="79376" y="1267628"/>
                  <a:pt x="101600" y="1259691"/>
                  <a:pt x="133350" y="1185872"/>
                </a:cubicBezTo>
                <a:cubicBezTo>
                  <a:pt x="165100" y="1112053"/>
                  <a:pt x="215107" y="926316"/>
                  <a:pt x="247651" y="847735"/>
                </a:cubicBezTo>
                <a:cubicBezTo>
                  <a:pt x="280195" y="769154"/>
                  <a:pt x="300037" y="746135"/>
                  <a:pt x="328612" y="714385"/>
                </a:cubicBezTo>
                <a:cubicBezTo>
                  <a:pt x="357187" y="682635"/>
                  <a:pt x="315119" y="704066"/>
                  <a:pt x="419100" y="657235"/>
                </a:cubicBezTo>
                <a:cubicBezTo>
                  <a:pt x="523081" y="610404"/>
                  <a:pt x="715963" y="533409"/>
                  <a:pt x="952500" y="433397"/>
                </a:cubicBezTo>
                <a:cubicBezTo>
                  <a:pt x="1247775" y="307985"/>
                  <a:pt x="1645444" y="128598"/>
                  <a:pt x="1838325" y="57160"/>
                </a:cubicBezTo>
                <a:cubicBezTo>
                  <a:pt x="2031206" y="-14278"/>
                  <a:pt x="2068512" y="-785"/>
                  <a:pt x="2109788" y="4771"/>
                </a:cubicBezTo>
                <a:cubicBezTo>
                  <a:pt x="2151064" y="10327"/>
                  <a:pt x="2105819" y="-23803"/>
                  <a:pt x="2286000" y="90497"/>
                </a:cubicBezTo>
                <a:cubicBezTo>
                  <a:pt x="2466181" y="204797"/>
                  <a:pt x="2839243" y="443318"/>
                  <a:pt x="3190875" y="690572"/>
                </a:cubicBezTo>
              </a:path>
            </a:pathLst>
          </a:cu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050"/>
          </a:p>
        </p:txBody>
      </p:sp>
      <p:sp>
        <p:nvSpPr>
          <p:cNvPr id="85" name="Elipse 84"/>
          <p:cNvSpPr/>
          <p:nvPr/>
        </p:nvSpPr>
        <p:spPr>
          <a:xfrm>
            <a:off x="2713463" y="2410976"/>
            <a:ext cx="199159" cy="169421"/>
          </a:xfrm>
          <a:prstGeom prst="ellipse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050"/>
          </a:p>
        </p:txBody>
      </p:sp>
      <p:sp>
        <p:nvSpPr>
          <p:cNvPr id="6" name="Forma libre 5"/>
          <p:cNvSpPr/>
          <p:nvPr/>
        </p:nvSpPr>
        <p:spPr>
          <a:xfrm>
            <a:off x="5361383" y="2075259"/>
            <a:ext cx="1857375" cy="425053"/>
          </a:xfrm>
          <a:custGeom>
            <a:avLst/>
            <a:gdLst>
              <a:gd name="connsiteX0" fmla="*/ 0 w 3724275"/>
              <a:gd name="connsiteY0" fmla="*/ 0 h 934943"/>
              <a:gd name="connsiteX1" fmla="*/ 190500 w 3724275"/>
              <a:gd name="connsiteY1" fmla="*/ 52387 h 934943"/>
              <a:gd name="connsiteX2" fmla="*/ 338137 w 3724275"/>
              <a:gd name="connsiteY2" fmla="*/ 57150 h 934943"/>
              <a:gd name="connsiteX3" fmla="*/ 695325 w 3724275"/>
              <a:gd name="connsiteY3" fmla="*/ 95250 h 934943"/>
              <a:gd name="connsiteX4" fmla="*/ 842962 w 3724275"/>
              <a:gd name="connsiteY4" fmla="*/ 95250 h 934943"/>
              <a:gd name="connsiteX5" fmla="*/ 990600 w 3724275"/>
              <a:gd name="connsiteY5" fmla="*/ 119062 h 934943"/>
              <a:gd name="connsiteX6" fmla="*/ 1071562 w 3724275"/>
              <a:gd name="connsiteY6" fmla="*/ 128587 h 934943"/>
              <a:gd name="connsiteX7" fmla="*/ 1157287 w 3724275"/>
              <a:gd name="connsiteY7" fmla="*/ 152400 h 934943"/>
              <a:gd name="connsiteX8" fmla="*/ 1247775 w 3724275"/>
              <a:gd name="connsiteY8" fmla="*/ 209550 h 934943"/>
              <a:gd name="connsiteX9" fmla="*/ 1466850 w 3724275"/>
              <a:gd name="connsiteY9" fmla="*/ 414337 h 934943"/>
              <a:gd name="connsiteX10" fmla="*/ 1566862 w 3724275"/>
              <a:gd name="connsiteY10" fmla="*/ 438150 h 934943"/>
              <a:gd name="connsiteX11" fmla="*/ 1847850 w 3724275"/>
              <a:gd name="connsiteY11" fmla="*/ 404812 h 934943"/>
              <a:gd name="connsiteX12" fmla="*/ 1995487 w 3724275"/>
              <a:gd name="connsiteY12" fmla="*/ 385762 h 934943"/>
              <a:gd name="connsiteX13" fmla="*/ 2205037 w 3724275"/>
              <a:gd name="connsiteY13" fmla="*/ 423862 h 934943"/>
              <a:gd name="connsiteX14" fmla="*/ 2371725 w 3724275"/>
              <a:gd name="connsiteY14" fmla="*/ 528637 h 934943"/>
              <a:gd name="connsiteX15" fmla="*/ 2476500 w 3724275"/>
              <a:gd name="connsiteY15" fmla="*/ 566737 h 934943"/>
              <a:gd name="connsiteX16" fmla="*/ 2605087 w 3724275"/>
              <a:gd name="connsiteY16" fmla="*/ 600075 h 934943"/>
              <a:gd name="connsiteX17" fmla="*/ 2847975 w 3724275"/>
              <a:gd name="connsiteY17" fmla="*/ 619125 h 934943"/>
              <a:gd name="connsiteX18" fmla="*/ 2976562 w 3724275"/>
              <a:gd name="connsiteY18" fmla="*/ 638175 h 934943"/>
              <a:gd name="connsiteX19" fmla="*/ 3095625 w 3724275"/>
              <a:gd name="connsiteY19" fmla="*/ 695325 h 934943"/>
              <a:gd name="connsiteX20" fmla="*/ 3262312 w 3724275"/>
              <a:gd name="connsiteY20" fmla="*/ 804862 h 934943"/>
              <a:gd name="connsiteX21" fmla="*/ 3376612 w 3724275"/>
              <a:gd name="connsiteY21" fmla="*/ 871537 h 934943"/>
              <a:gd name="connsiteX22" fmla="*/ 3543300 w 3724275"/>
              <a:gd name="connsiteY22" fmla="*/ 928687 h 934943"/>
              <a:gd name="connsiteX23" fmla="*/ 3724275 w 3724275"/>
              <a:gd name="connsiteY23" fmla="*/ 933450 h 934943"/>
              <a:gd name="connsiteX24" fmla="*/ 3724275 w 3724275"/>
              <a:gd name="connsiteY24" fmla="*/ 933450 h 934943"/>
              <a:gd name="connsiteX0" fmla="*/ 0 w 3724275"/>
              <a:gd name="connsiteY0" fmla="*/ 0 h 934943"/>
              <a:gd name="connsiteX1" fmla="*/ 190500 w 3724275"/>
              <a:gd name="connsiteY1" fmla="*/ 52387 h 934943"/>
              <a:gd name="connsiteX2" fmla="*/ 338137 w 3724275"/>
              <a:gd name="connsiteY2" fmla="*/ 57150 h 934943"/>
              <a:gd name="connsiteX3" fmla="*/ 695325 w 3724275"/>
              <a:gd name="connsiteY3" fmla="*/ 95250 h 934943"/>
              <a:gd name="connsiteX4" fmla="*/ 842962 w 3724275"/>
              <a:gd name="connsiteY4" fmla="*/ 95250 h 934943"/>
              <a:gd name="connsiteX5" fmla="*/ 990600 w 3724275"/>
              <a:gd name="connsiteY5" fmla="*/ 119062 h 934943"/>
              <a:gd name="connsiteX6" fmla="*/ 1071562 w 3724275"/>
              <a:gd name="connsiteY6" fmla="*/ 128587 h 934943"/>
              <a:gd name="connsiteX7" fmla="*/ 1157287 w 3724275"/>
              <a:gd name="connsiteY7" fmla="*/ 152400 h 934943"/>
              <a:gd name="connsiteX8" fmla="*/ 1247775 w 3724275"/>
              <a:gd name="connsiteY8" fmla="*/ 209550 h 934943"/>
              <a:gd name="connsiteX9" fmla="*/ 1466850 w 3724275"/>
              <a:gd name="connsiteY9" fmla="*/ 414337 h 934943"/>
              <a:gd name="connsiteX10" fmla="*/ 1590675 w 3724275"/>
              <a:gd name="connsiteY10" fmla="*/ 452438 h 934943"/>
              <a:gd name="connsiteX11" fmla="*/ 1847850 w 3724275"/>
              <a:gd name="connsiteY11" fmla="*/ 404812 h 934943"/>
              <a:gd name="connsiteX12" fmla="*/ 1995487 w 3724275"/>
              <a:gd name="connsiteY12" fmla="*/ 385762 h 934943"/>
              <a:gd name="connsiteX13" fmla="*/ 2205037 w 3724275"/>
              <a:gd name="connsiteY13" fmla="*/ 423862 h 934943"/>
              <a:gd name="connsiteX14" fmla="*/ 2371725 w 3724275"/>
              <a:gd name="connsiteY14" fmla="*/ 528637 h 934943"/>
              <a:gd name="connsiteX15" fmla="*/ 2476500 w 3724275"/>
              <a:gd name="connsiteY15" fmla="*/ 566737 h 934943"/>
              <a:gd name="connsiteX16" fmla="*/ 2605087 w 3724275"/>
              <a:gd name="connsiteY16" fmla="*/ 600075 h 934943"/>
              <a:gd name="connsiteX17" fmla="*/ 2847975 w 3724275"/>
              <a:gd name="connsiteY17" fmla="*/ 619125 h 934943"/>
              <a:gd name="connsiteX18" fmla="*/ 2976562 w 3724275"/>
              <a:gd name="connsiteY18" fmla="*/ 638175 h 934943"/>
              <a:gd name="connsiteX19" fmla="*/ 3095625 w 3724275"/>
              <a:gd name="connsiteY19" fmla="*/ 695325 h 934943"/>
              <a:gd name="connsiteX20" fmla="*/ 3262312 w 3724275"/>
              <a:gd name="connsiteY20" fmla="*/ 804862 h 934943"/>
              <a:gd name="connsiteX21" fmla="*/ 3376612 w 3724275"/>
              <a:gd name="connsiteY21" fmla="*/ 871537 h 934943"/>
              <a:gd name="connsiteX22" fmla="*/ 3543300 w 3724275"/>
              <a:gd name="connsiteY22" fmla="*/ 928687 h 934943"/>
              <a:gd name="connsiteX23" fmla="*/ 3724275 w 3724275"/>
              <a:gd name="connsiteY23" fmla="*/ 933450 h 934943"/>
              <a:gd name="connsiteX24" fmla="*/ 3724275 w 3724275"/>
              <a:gd name="connsiteY24" fmla="*/ 933450 h 934943"/>
              <a:gd name="connsiteX0" fmla="*/ 0 w 3724275"/>
              <a:gd name="connsiteY0" fmla="*/ 0 h 934943"/>
              <a:gd name="connsiteX1" fmla="*/ 190500 w 3724275"/>
              <a:gd name="connsiteY1" fmla="*/ 52387 h 934943"/>
              <a:gd name="connsiteX2" fmla="*/ 338137 w 3724275"/>
              <a:gd name="connsiteY2" fmla="*/ 57150 h 934943"/>
              <a:gd name="connsiteX3" fmla="*/ 695325 w 3724275"/>
              <a:gd name="connsiteY3" fmla="*/ 95250 h 934943"/>
              <a:gd name="connsiteX4" fmla="*/ 842962 w 3724275"/>
              <a:gd name="connsiteY4" fmla="*/ 95250 h 934943"/>
              <a:gd name="connsiteX5" fmla="*/ 990600 w 3724275"/>
              <a:gd name="connsiteY5" fmla="*/ 119062 h 934943"/>
              <a:gd name="connsiteX6" fmla="*/ 1071562 w 3724275"/>
              <a:gd name="connsiteY6" fmla="*/ 128587 h 934943"/>
              <a:gd name="connsiteX7" fmla="*/ 1157287 w 3724275"/>
              <a:gd name="connsiteY7" fmla="*/ 152400 h 934943"/>
              <a:gd name="connsiteX8" fmla="*/ 1247775 w 3724275"/>
              <a:gd name="connsiteY8" fmla="*/ 209550 h 934943"/>
              <a:gd name="connsiteX9" fmla="*/ 1466850 w 3724275"/>
              <a:gd name="connsiteY9" fmla="*/ 414337 h 934943"/>
              <a:gd name="connsiteX10" fmla="*/ 1590675 w 3724275"/>
              <a:gd name="connsiteY10" fmla="*/ 452438 h 934943"/>
              <a:gd name="connsiteX11" fmla="*/ 1847850 w 3724275"/>
              <a:gd name="connsiteY11" fmla="*/ 404812 h 934943"/>
              <a:gd name="connsiteX12" fmla="*/ 1995487 w 3724275"/>
              <a:gd name="connsiteY12" fmla="*/ 385762 h 934943"/>
              <a:gd name="connsiteX13" fmla="*/ 2205037 w 3724275"/>
              <a:gd name="connsiteY13" fmla="*/ 423862 h 934943"/>
              <a:gd name="connsiteX14" fmla="*/ 2371725 w 3724275"/>
              <a:gd name="connsiteY14" fmla="*/ 528637 h 934943"/>
              <a:gd name="connsiteX15" fmla="*/ 2476500 w 3724275"/>
              <a:gd name="connsiteY15" fmla="*/ 566737 h 934943"/>
              <a:gd name="connsiteX16" fmla="*/ 2605087 w 3724275"/>
              <a:gd name="connsiteY16" fmla="*/ 600075 h 934943"/>
              <a:gd name="connsiteX17" fmla="*/ 2847975 w 3724275"/>
              <a:gd name="connsiteY17" fmla="*/ 619125 h 934943"/>
              <a:gd name="connsiteX18" fmla="*/ 2976562 w 3724275"/>
              <a:gd name="connsiteY18" fmla="*/ 638175 h 934943"/>
              <a:gd name="connsiteX19" fmla="*/ 3095625 w 3724275"/>
              <a:gd name="connsiteY19" fmla="*/ 695325 h 934943"/>
              <a:gd name="connsiteX20" fmla="*/ 3262312 w 3724275"/>
              <a:gd name="connsiteY20" fmla="*/ 804862 h 934943"/>
              <a:gd name="connsiteX21" fmla="*/ 3376612 w 3724275"/>
              <a:gd name="connsiteY21" fmla="*/ 871537 h 934943"/>
              <a:gd name="connsiteX22" fmla="*/ 3543300 w 3724275"/>
              <a:gd name="connsiteY22" fmla="*/ 928687 h 934943"/>
              <a:gd name="connsiteX23" fmla="*/ 3724275 w 3724275"/>
              <a:gd name="connsiteY23" fmla="*/ 933450 h 934943"/>
              <a:gd name="connsiteX0" fmla="*/ 0 w 3543300"/>
              <a:gd name="connsiteY0" fmla="*/ 0 h 928687"/>
              <a:gd name="connsiteX1" fmla="*/ 190500 w 3543300"/>
              <a:gd name="connsiteY1" fmla="*/ 52387 h 928687"/>
              <a:gd name="connsiteX2" fmla="*/ 338137 w 3543300"/>
              <a:gd name="connsiteY2" fmla="*/ 57150 h 928687"/>
              <a:gd name="connsiteX3" fmla="*/ 695325 w 3543300"/>
              <a:gd name="connsiteY3" fmla="*/ 95250 h 928687"/>
              <a:gd name="connsiteX4" fmla="*/ 842962 w 3543300"/>
              <a:gd name="connsiteY4" fmla="*/ 95250 h 928687"/>
              <a:gd name="connsiteX5" fmla="*/ 990600 w 3543300"/>
              <a:gd name="connsiteY5" fmla="*/ 119062 h 928687"/>
              <a:gd name="connsiteX6" fmla="*/ 1071562 w 3543300"/>
              <a:gd name="connsiteY6" fmla="*/ 128587 h 928687"/>
              <a:gd name="connsiteX7" fmla="*/ 1157287 w 3543300"/>
              <a:gd name="connsiteY7" fmla="*/ 152400 h 928687"/>
              <a:gd name="connsiteX8" fmla="*/ 1247775 w 3543300"/>
              <a:gd name="connsiteY8" fmla="*/ 209550 h 928687"/>
              <a:gd name="connsiteX9" fmla="*/ 1466850 w 3543300"/>
              <a:gd name="connsiteY9" fmla="*/ 414337 h 928687"/>
              <a:gd name="connsiteX10" fmla="*/ 1590675 w 3543300"/>
              <a:gd name="connsiteY10" fmla="*/ 452438 h 928687"/>
              <a:gd name="connsiteX11" fmla="*/ 1847850 w 3543300"/>
              <a:gd name="connsiteY11" fmla="*/ 404812 h 928687"/>
              <a:gd name="connsiteX12" fmla="*/ 1995487 w 3543300"/>
              <a:gd name="connsiteY12" fmla="*/ 385762 h 928687"/>
              <a:gd name="connsiteX13" fmla="*/ 2205037 w 3543300"/>
              <a:gd name="connsiteY13" fmla="*/ 423862 h 928687"/>
              <a:gd name="connsiteX14" fmla="*/ 2371725 w 3543300"/>
              <a:gd name="connsiteY14" fmla="*/ 528637 h 928687"/>
              <a:gd name="connsiteX15" fmla="*/ 2476500 w 3543300"/>
              <a:gd name="connsiteY15" fmla="*/ 566737 h 928687"/>
              <a:gd name="connsiteX16" fmla="*/ 2605087 w 3543300"/>
              <a:gd name="connsiteY16" fmla="*/ 600075 h 928687"/>
              <a:gd name="connsiteX17" fmla="*/ 2847975 w 3543300"/>
              <a:gd name="connsiteY17" fmla="*/ 619125 h 928687"/>
              <a:gd name="connsiteX18" fmla="*/ 2976562 w 3543300"/>
              <a:gd name="connsiteY18" fmla="*/ 638175 h 928687"/>
              <a:gd name="connsiteX19" fmla="*/ 3095625 w 3543300"/>
              <a:gd name="connsiteY19" fmla="*/ 695325 h 928687"/>
              <a:gd name="connsiteX20" fmla="*/ 3262312 w 3543300"/>
              <a:gd name="connsiteY20" fmla="*/ 804862 h 928687"/>
              <a:gd name="connsiteX21" fmla="*/ 3376612 w 3543300"/>
              <a:gd name="connsiteY21" fmla="*/ 871537 h 928687"/>
              <a:gd name="connsiteX22" fmla="*/ 3543300 w 3543300"/>
              <a:gd name="connsiteY22" fmla="*/ 928687 h 928687"/>
              <a:gd name="connsiteX0" fmla="*/ 0 w 3376612"/>
              <a:gd name="connsiteY0" fmla="*/ 0 h 871537"/>
              <a:gd name="connsiteX1" fmla="*/ 190500 w 3376612"/>
              <a:gd name="connsiteY1" fmla="*/ 52387 h 871537"/>
              <a:gd name="connsiteX2" fmla="*/ 338137 w 3376612"/>
              <a:gd name="connsiteY2" fmla="*/ 57150 h 871537"/>
              <a:gd name="connsiteX3" fmla="*/ 695325 w 3376612"/>
              <a:gd name="connsiteY3" fmla="*/ 95250 h 871537"/>
              <a:gd name="connsiteX4" fmla="*/ 842962 w 3376612"/>
              <a:gd name="connsiteY4" fmla="*/ 95250 h 871537"/>
              <a:gd name="connsiteX5" fmla="*/ 990600 w 3376612"/>
              <a:gd name="connsiteY5" fmla="*/ 119062 h 871537"/>
              <a:gd name="connsiteX6" fmla="*/ 1071562 w 3376612"/>
              <a:gd name="connsiteY6" fmla="*/ 128587 h 871537"/>
              <a:gd name="connsiteX7" fmla="*/ 1157287 w 3376612"/>
              <a:gd name="connsiteY7" fmla="*/ 152400 h 871537"/>
              <a:gd name="connsiteX8" fmla="*/ 1247775 w 3376612"/>
              <a:gd name="connsiteY8" fmla="*/ 209550 h 871537"/>
              <a:gd name="connsiteX9" fmla="*/ 1466850 w 3376612"/>
              <a:gd name="connsiteY9" fmla="*/ 414337 h 871537"/>
              <a:gd name="connsiteX10" fmla="*/ 1590675 w 3376612"/>
              <a:gd name="connsiteY10" fmla="*/ 452438 h 871537"/>
              <a:gd name="connsiteX11" fmla="*/ 1847850 w 3376612"/>
              <a:gd name="connsiteY11" fmla="*/ 404812 h 871537"/>
              <a:gd name="connsiteX12" fmla="*/ 1995487 w 3376612"/>
              <a:gd name="connsiteY12" fmla="*/ 385762 h 871537"/>
              <a:gd name="connsiteX13" fmla="*/ 2205037 w 3376612"/>
              <a:gd name="connsiteY13" fmla="*/ 423862 h 871537"/>
              <a:gd name="connsiteX14" fmla="*/ 2371725 w 3376612"/>
              <a:gd name="connsiteY14" fmla="*/ 528637 h 871537"/>
              <a:gd name="connsiteX15" fmla="*/ 2476500 w 3376612"/>
              <a:gd name="connsiteY15" fmla="*/ 566737 h 871537"/>
              <a:gd name="connsiteX16" fmla="*/ 2605087 w 3376612"/>
              <a:gd name="connsiteY16" fmla="*/ 600075 h 871537"/>
              <a:gd name="connsiteX17" fmla="*/ 2847975 w 3376612"/>
              <a:gd name="connsiteY17" fmla="*/ 619125 h 871537"/>
              <a:gd name="connsiteX18" fmla="*/ 2976562 w 3376612"/>
              <a:gd name="connsiteY18" fmla="*/ 638175 h 871537"/>
              <a:gd name="connsiteX19" fmla="*/ 3095625 w 3376612"/>
              <a:gd name="connsiteY19" fmla="*/ 695325 h 871537"/>
              <a:gd name="connsiteX20" fmla="*/ 3262312 w 3376612"/>
              <a:gd name="connsiteY20" fmla="*/ 804862 h 871537"/>
              <a:gd name="connsiteX21" fmla="*/ 3376612 w 3376612"/>
              <a:gd name="connsiteY21" fmla="*/ 871537 h 871537"/>
              <a:gd name="connsiteX0" fmla="*/ 0 w 3262312"/>
              <a:gd name="connsiteY0" fmla="*/ 0 h 804862"/>
              <a:gd name="connsiteX1" fmla="*/ 190500 w 3262312"/>
              <a:gd name="connsiteY1" fmla="*/ 52387 h 804862"/>
              <a:gd name="connsiteX2" fmla="*/ 338137 w 3262312"/>
              <a:gd name="connsiteY2" fmla="*/ 57150 h 804862"/>
              <a:gd name="connsiteX3" fmla="*/ 695325 w 3262312"/>
              <a:gd name="connsiteY3" fmla="*/ 95250 h 804862"/>
              <a:gd name="connsiteX4" fmla="*/ 842962 w 3262312"/>
              <a:gd name="connsiteY4" fmla="*/ 95250 h 804862"/>
              <a:gd name="connsiteX5" fmla="*/ 990600 w 3262312"/>
              <a:gd name="connsiteY5" fmla="*/ 119062 h 804862"/>
              <a:gd name="connsiteX6" fmla="*/ 1071562 w 3262312"/>
              <a:gd name="connsiteY6" fmla="*/ 128587 h 804862"/>
              <a:gd name="connsiteX7" fmla="*/ 1157287 w 3262312"/>
              <a:gd name="connsiteY7" fmla="*/ 152400 h 804862"/>
              <a:gd name="connsiteX8" fmla="*/ 1247775 w 3262312"/>
              <a:gd name="connsiteY8" fmla="*/ 209550 h 804862"/>
              <a:gd name="connsiteX9" fmla="*/ 1466850 w 3262312"/>
              <a:gd name="connsiteY9" fmla="*/ 414337 h 804862"/>
              <a:gd name="connsiteX10" fmla="*/ 1590675 w 3262312"/>
              <a:gd name="connsiteY10" fmla="*/ 452438 h 804862"/>
              <a:gd name="connsiteX11" fmla="*/ 1847850 w 3262312"/>
              <a:gd name="connsiteY11" fmla="*/ 404812 h 804862"/>
              <a:gd name="connsiteX12" fmla="*/ 1995487 w 3262312"/>
              <a:gd name="connsiteY12" fmla="*/ 385762 h 804862"/>
              <a:gd name="connsiteX13" fmla="*/ 2205037 w 3262312"/>
              <a:gd name="connsiteY13" fmla="*/ 423862 h 804862"/>
              <a:gd name="connsiteX14" fmla="*/ 2371725 w 3262312"/>
              <a:gd name="connsiteY14" fmla="*/ 528637 h 804862"/>
              <a:gd name="connsiteX15" fmla="*/ 2476500 w 3262312"/>
              <a:gd name="connsiteY15" fmla="*/ 566737 h 804862"/>
              <a:gd name="connsiteX16" fmla="*/ 2605087 w 3262312"/>
              <a:gd name="connsiteY16" fmla="*/ 600075 h 804862"/>
              <a:gd name="connsiteX17" fmla="*/ 2847975 w 3262312"/>
              <a:gd name="connsiteY17" fmla="*/ 619125 h 804862"/>
              <a:gd name="connsiteX18" fmla="*/ 2976562 w 3262312"/>
              <a:gd name="connsiteY18" fmla="*/ 638175 h 804862"/>
              <a:gd name="connsiteX19" fmla="*/ 3095625 w 3262312"/>
              <a:gd name="connsiteY19" fmla="*/ 695325 h 804862"/>
              <a:gd name="connsiteX20" fmla="*/ 3262312 w 3262312"/>
              <a:gd name="connsiteY20" fmla="*/ 804862 h 804862"/>
              <a:gd name="connsiteX0" fmla="*/ 0 w 3095625"/>
              <a:gd name="connsiteY0" fmla="*/ 0 h 695325"/>
              <a:gd name="connsiteX1" fmla="*/ 190500 w 3095625"/>
              <a:gd name="connsiteY1" fmla="*/ 52387 h 695325"/>
              <a:gd name="connsiteX2" fmla="*/ 338137 w 3095625"/>
              <a:gd name="connsiteY2" fmla="*/ 57150 h 695325"/>
              <a:gd name="connsiteX3" fmla="*/ 695325 w 3095625"/>
              <a:gd name="connsiteY3" fmla="*/ 95250 h 695325"/>
              <a:gd name="connsiteX4" fmla="*/ 842962 w 3095625"/>
              <a:gd name="connsiteY4" fmla="*/ 95250 h 695325"/>
              <a:gd name="connsiteX5" fmla="*/ 990600 w 3095625"/>
              <a:gd name="connsiteY5" fmla="*/ 119062 h 695325"/>
              <a:gd name="connsiteX6" fmla="*/ 1071562 w 3095625"/>
              <a:gd name="connsiteY6" fmla="*/ 128587 h 695325"/>
              <a:gd name="connsiteX7" fmla="*/ 1157287 w 3095625"/>
              <a:gd name="connsiteY7" fmla="*/ 152400 h 695325"/>
              <a:gd name="connsiteX8" fmla="*/ 1247775 w 3095625"/>
              <a:gd name="connsiteY8" fmla="*/ 209550 h 695325"/>
              <a:gd name="connsiteX9" fmla="*/ 1466850 w 3095625"/>
              <a:gd name="connsiteY9" fmla="*/ 414337 h 695325"/>
              <a:gd name="connsiteX10" fmla="*/ 1590675 w 3095625"/>
              <a:gd name="connsiteY10" fmla="*/ 452438 h 695325"/>
              <a:gd name="connsiteX11" fmla="*/ 1847850 w 3095625"/>
              <a:gd name="connsiteY11" fmla="*/ 404812 h 695325"/>
              <a:gd name="connsiteX12" fmla="*/ 1995487 w 3095625"/>
              <a:gd name="connsiteY12" fmla="*/ 385762 h 695325"/>
              <a:gd name="connsiteX13" fmla="*/ 2205037 w 3095625"/>
              <a:gd name="connsiteY13" fmla="*/ 423862 h 695325"/>
              <a:gd name="connsiteX14" fmla="*/ 2371725 w 3095625"/>
              <a:gd name="connsiteY14" fmla="*/ 528637 h 695325"/>
              <a:gd name="connsiteX15" fmla="*/ 2476500 w 3095625"/>
              <a:gd name="connsiteY15" fmla="*/ 566737 h 695325"/>
              <a:gd name="connsiteX16" fmla="*/ 2605087 w 3095625"/>
              <a:gd name="connsiteY16" fmla="*/ 600075 h 695325"/>
              <a:gd name="connsiteX17" fmla="*/ 2847975 w 3095625"/>
              <a:gd name="connsiteY17" fmla="*/ 619125 h 695325"/>
              <a:gd name="connsiteX18" fmla="*/ 2976562 w 3095625"/>
              <a:gd name="connsiteY18" fmla="*/ 638175 h 695325"/>
              <a:gd name="connsiteX19" fmla="*/ 3095625 w 3095625"/>
              <a:gd name="connsiteY19" fmla="*/ 695325 h 695325"/>
              <a:gd name="connsiteX0" fmla="*/ 0 w 2976562"/>
              <a:gd name="connsiteY0" fmla="*/ 0 h 638175"/>
              <a:gd name="connsiteX1" fmla="*/ 190500 w 2976562"/>
              <a:gd name="connsiteY1" fmla="*/ 52387 h 638175"/>
              <a:gd name="connsiteX2" fmla="*/ 338137 w 2976562"/>
              <a:gd name="connsiteY2" fmla="*/ 57150 h 638175"/>
              <a:gd name="connsiteX3" fmla="*/ 695325 w 2976562"/>
              <a:gd name="connsiteY3" fmla="*/ 95250 h 638175"/>
              <a:gd name="connsiteX4" fmla="*/ 842962 w 2976562"/>
              <a:gd name="connsiteY4" fmla="*/ 95250 h 638175"/>
              <a:gd name="connsiteX5" fmla="*/ 990600 w 2976562"/>
              <a:gd name="connsiteY5" fmla="*/ 119062 h 638175"/>
              <a:gd name="connsiteX6" fmla="*/ 1071562 w 2976562"/>
              <a:gd name="connsiteY6" fmla="*/ 128587 h 638175"/>
              <a:gd name="connsiteX7" fmla="*/ 1157287 w 2976562"/>
              <a:gd name="connsiteY7" fmla="*/ 152400 h 638175"/>
              <a:gd name="connsiteX8" fmla="*/ 1247775 w 2976562"/>
              <a:gd name="connsiteY8" fmla="*/ 209550 h 638175"/>
              <a:gd name="connsiteX9" fmla="*/ 1466850 w 2976562"/>
              <a:gd name="connsiteY9" fmla="*/ 414337 h 638175"/>
              <a:gd name="connsiteX10" fmla="*/ 1590675 w 2976562"/>
              <a:gd name="connsiteY10" fmla="*/ 452438 h 638175"/>
              <a:gd name="connsiteX11" fmla="*/ 1847850 w 2976562"/>
              <a:gd name="connsiteY11" fmla="*/ 404812 h 638175"/>
              <a:gd name="connsiteX12" fmla="*/ 1995487 w 2976562"/>
              <a:gd name="connsiteY12" fmla="*/ 385762 h 638175"/>
              <a:gd name="connsiteX13" fmla="*/ 2205037 w 2976562"/>
              <a:gd name="connsiteY13" fmla="*/ 423862 h 638175"/>
              <a:gd name="connsiteX14" fmla="*/ 2371725 w 2976562"/>
              <a:gd name="connsiteY14" fmla="*/ 528637 h 638175"/>
              <a:gd name="connsiteX15" fmla="*/ 2476500 w 2976562"/>
              <a:gd name="connsiteY15" fmla="*/ 566737 h 638175"/>
              <a:gd name="connsiteX16" fmla="*/ 2605087 w 2976562"/>
              <a:gd name="connsiteY16" fmla="*/ 600075 h 638175"/>
              <a:gd name="connsiteX17" fmla="*/ 2847975 w 2976562"/>
              <a:gd name="connsiteY17" fmla="*/ 619125 h 638175"/>
              <a:gd name="connsiteX18" fmla="*/ 2976562 w 2976562"/>
              <a:gd name="connsiteY18" fmla="*/ 638175 h 638175"/>
              <a:gd name="connsiteX0" fmla="*/ 0 w 2847975"/>
              <a:gd name="connsiteY0" fmla="*/ 0 h 619125"/>
              <a:gd name="connsiteX1" fmla="*/ 190500 w 2847975"/>
              <a:gd name="connsiteY1" fmla="*/ 52387 h 619125"/>
              <a:gd name="connsiteX2" fmla="*/ 338137 w 2847975"/>
              <a:gd name="connsiteY2" fmla="*/ 57150 h 619125"/>
              <a:gd name="connsiteX3" fmla="*/ 695325 w 2847975"/>
              <a:gd name="connsiteY3" fmla="*/ 95250 h 619125"/>
              <a:gd name="connsiteX4" fmla="*/ 842962 w 2847975"/>
              <a:gd name="connsiteY4" fmla="*/ 95250 h 619125"/>
              <a:gd name="connsiteX5" fmla="*/ 990600 w 2847975"/>
              <a:gd name="connsiteY5" fmla="*/ 119062 h 619125"/>
              <a:gd name="connsiteX6" fmla="*/ 1071562 w 2847975"/>
              <a:gd name="connsiteY6" fmla="*/ 128587 h 619125"/>
              <a:gd name="connsiteX7" fmla="*/ 1157287 w 2847975"/>
              <a:gd name="connsiteY7" fmla="*/ 152400 h 619125"/>
              <a:gd name="connsiteX8" fmla="*/ 1247775 w 2847975"/>
              <a:gd name="connsiteY8" fmla="*/ 209550 h 619125"/>
              <a:gd name="connsiteX9" fmla="*/ 1466850 w 2847975"/>
              <a:gd name="connsiteY9" fmla="*/ 414337 h 619125"/>
              <a:gd name="connsiteX10" fmla="*/ 1590675 w 2847975"/>
              <a:gd name="connsiteY10" fmla="*/ 452438 h 619125"/>
              <a:gd name="connsiteX11" fmla="*/ 1847850 w 2847975"/>
              <a:gd name="connsiteY11" fmla="*/ 404812 h 619125"/>
              <a:gd name="connsiteX12" fmla="*/ 1995487 w 2847975"/>
              <a:gd name="connsiteY12" fmla="*/ 385762 h 619125"/>
              <a:gd name="connsiteX13" fmla="*/ 2205037 w 2847975"/>
              <a:gd name="connsiteY13" fmla="*/ 423862 h 619125"/>
              <a:gd name="connsiteX14" fmla="*/ 2371725 w 2847975"/>
              <a:gd name="connsiteY14" fmla="*/ 528637 h 619125"/>
              <a:gd name="connsiteX15" fmla="*/ 2476500 w 2847975"/>
              <a:gd name="connsiteY15" fmla="*/ 566737 h 619125"/>
              <a:gd name="connsiteX16" fmla="*/ 2605087 w 2847975"/>
              <a:gd name="connsiteY16" fmla="*/ 600075 h 619125"/>
              <a:gd name="connsiteX17" fmla="*/ 2847975 w 2847975"/>
              <a:gd name="connsiteY17" fmla="*/ 619125 h 619125"/>
              <a:gd name="connsiteX0" fmla="*/ 0 w 2605087"/>
              <a:gd name="connsiteY0" fmla="*/ 0 h 600075"/>
              <a:gd name="connsiteX1" fmla="*/ 190500 w 2605087"/>
              <a:gd name="connsiteY1" fmla="*/ 52387 h 600075"/>
              <a:gd name="connsiteX2" fmla="*/ 338137 w 2605087"/>
              <a:gd name="connsiteY2" fmla="*/ 57150 h 600075"/>
              <a:gd name="connsiteX3" fmla="*/ 695325 w 2605087"/>
              <a:gd name="connsiteY3" fmla="*/ 95250 h 600075"/>
              <a:gd name="connsiteX4" fmla="*/ 842962 w 2605087"/>
              <a:gd name="connsiteY4" fmla="*/ 95250 h 600075"/>
              <a:gd name="connsiteX5" fmla="*/ 990600 w 2605087"/>
              <a:gd name="connsiteY5" fmla="*/ 119062 h 600075"/>
              <a:gd name="connsiteX6" fmla="*/ 1071562 w 2605087"/>
              <a:gd name="connsiteY6" fmla="*/ 128587 h 600075"/>
              <a:gd name="connsiteX7" fmla="*/ 1157287 w 2605087"/>
              <a:gd name="connsiteY7" fmla="*/ 152400 h 600075"/>
              <a:gd name="connsiteX8" fmla="*/ 1247775 w 2605087"/>
              <a:gd name="connsiteY8" fmla="*/ 209550 h 600075"/>
              <a:gd name="connsiteX9" fmla="*/ 1466850 w 2605087"/>
              <a:gd name="connsiteY9" fmla="*/ 414337 h 600075"/>
              <a:gd name="connsiteX10" fmla="*/ 1590675 w 2605087"/>
              <a:gd name="connsiteY10" fmla="*/ 452438 h 600075"/>
              <a:gd name="connsiteX11" fmla="*/ 1847850 w 2605087"/>
              <a:gd name="connsiteY11" fmla="*/ 404812 h 600075"/>
              <a:gd name="connsiteX12" fmla="*/ 1995487 w 2605087"/>
              <a:gd name="connsiteY12" fmla="*/ 385762 h 600075"/>
              <a:gd name="connsiteX13" fmla="*/ 2205037 w 2605087"/>
              <a:gd name="connsiteY13" fmla="*/ 423862 h 600075"/>
              <a:gd name="connsiteX14" fmla="*/ 2371725 w 2605087"/>
              <a:gd name="connsiteY14" fmla="*/ 528637 h 600075"/>
              <a:gd name="connsiteX15" fmla="*/ 2476500 w 2605087"/>
              <a:gd name="connsiteY15" fmla="*/ 566737 h 600075"/>
              <a:gd name="connsiteX16" fmla="*/ 2605087 w 2605087"/>
              <a:gd name="connsiteY16" fmla="*/ 600075 h 600075"/>
              <a:gd name="connsiteX0" fmla="*/ 0 w 2476500"/>
              <a:gd name="connsiteY0" fmla="*/ 0 h 566737"/>
              <a:gd name="connsiteX1" fmla="*/ 190500 w 2476500"/>
              <a:gd name="connsiteY1" fmla="*/ 52387 h 566737"/>
              <a:gd name="connsiteX2" fmla="*/ 338137 w 2476500"/>
              <a:gd name="connsiteY2" fmla="*/ 57150 h 566737"/>
              <a:gd name="connsiteX3" fmla="*/ 695325 w 2476500"/>
              <a:gd name="connsiteY3" fmla="*/ 95250 h 566737"/>
              <a:gd name="connsiteX4" fmla="*/ 842962 w 2476500"/>
              <a:gd name="connsiteY4" fmla="*/ 95250 h 566737"/>
              <a:gd name="connsiteX5" fmla="*/ 990600 w 2476500"/>
              <a:gd name="connsiteY5" fmla="*/ 119062 h 566737"/>
              <a:gd name="connsiteX6" fmla="*/ 1071562 w 2476500"/>
              <a:gd name="connsiteY6" fmla="*/ 128587 h 566737"/>
              <a:gd name="connsiteX7" fmla="*/ 1157287 w 2476500"/>
              <a:gd name="connsiteY7" fmla="*/ 152400 h 566737"/>
              <a:gd name="connsiteX8" fmla="*/ 1247775 w 2476500"/>
              <a:gd name="connsiteY8" fmla="*/ 209550 h 566737"/>
              <a:gd name="connsiteX9" fmla="*/ 1466850 w 2476500"/>
              <a:gd name="connsiteY9" fmla="*/ 414337 h 566737"/>
              <a:gd name="connsiteX10" fmla="*/ 1590675 w 2476500"/>
              <a:gd name="connsiteY10" fmla="*/ 452438 h 566737"/>
              <a:gd name="connsiteX11" fmla="*/ 1847850 w 2476500"/>
              <a:gd name="connsiteY11" fmla="*/ 404812 h 566737"/>
              <a:gd name="connsiteX12" fmla="*/ 1995487 w 2476500"/>
              <a:gd name="connsiteY12" fmla="*/ 385762 h 566737"/>
              <a:gd name="connsiteX13" fmla="*/ 2205037 w 2476500"/>
              <a:gd name="connsiteY13" fmla="*/ 423862 h 566737"/>
              <a:gd name="connsiteX14" fmla="*/ 2371725 w 2476500"/>
              <a:gd name="connsiteY14" fmla="*/ 528637 h 566737"/>
              <a:gd name="connsiteX15" fmla="*/ 2476500 w 2476500"/>
              <a:gd name="connsiteY15" fmla="*/ 566737 h 566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476500" h="566737">
                <a:moveTo>
                  <a:pt x="0" y="0"/>
                </a:moveTo>
                <a:cubicBezTo>
                  <a:pt x="67072" y="21431"/>
                  <a:pt x="134144" y="42862"/>
                  <a:pt x="190500" y="52387"/>
                </a:cubicBezTo>
                <a:cubicBezTo>
                  <a:pt x="246856" y="61912"/>
                  <a:pt x="254000" y="50006"/>
                  <a:pt x="338137" y="57150"/>
                </a:cubicBezTo>
                <a:cubicBezTo>
                  <a:pt x="422275" y="64294"/>
                  <a:pt x="611188" y="88900"/>
                  <a:pt x="695325" y="95250"/>
                </a:cubicBezTo>
                <a:cubicBezTo>
                  <a:pt x="779462" y="101600"/>
                  <a:pt x="793750" y="91281"/>
                  <a:pt x="842962" y="95250"/>
                </a:cubicBezTo>
                <a:cubicBezTo>
                  <a:pt x="892174" y="99219"/>
                  <a:pt x="952500" y="113506"/>
                  <a:pt x="990600" y="119062"/>
                </a:cubicBezTo>
                <a:cubicBezTo>
                  <a:pt x="1028700" y="124618"/>
                  <a:pt x="1043781" y="123031"/>
                  <a:pt x="1071562" y="128587"/>
                </a:cubicBezTo>
                <a:cubicBezTo>
                  <a:pt x="1099343" y="134143"/>
                  <a:pt x="1127918" y="138906"/>
                  <a:pt x="1157287" y="152400"/>
                </a:cubicBezTo>
                <a:cubicBezTo>
                  <a:pt x="1186656" y="165894"/>
                  <a:pt x="1196181" y="165894"/>
                  <a:pt x="1247775" y="209550"/>
                </a:cubicBezTo>
                <a:cubicBezTo>
                  <a:pt x="1299369" y="253206"/>
                  <a:pt x="1409700" y="373856"/>
                  <a:pt x="1466850" y="414337"/>
                </a:cubicBezTo>
                <a:cubicBezTo>
                  <a:pt x="1524000" y="454818"/>
                  <a:pt x="1527175" y="454025"/>
                  <a:pt x="1590675" y="452438"/>
                </a:cubicBezTo>
                <a:cubicBezTo>
                  <a:pt x="1654175" y="450851"/>
                  <a:pt x="1780381" y="415925"/>
                  <a:pt x="1847850" y="404812"/>
                </a:cubicBezTo>
                <a:cubicBezTo>
                  <a:pt x="1915319" y="393699"/>
                  <a:pt x="1935956" y="382587"/>
                  <a:pt x="1995487" y="385762"/>
                </a:cubicBezTo>
                <a:cubicBezTo>
                  <a:pt x="2055018" y="388937"/>
                  <a:pt x="2142331" y="400050"/>
                  <a:pt x="2205037" y="423862"/>
                </a:cubicBezTo>
                <a:cubicBezTo>
                  <a:pt x="2267743" y="447674"/>
                  <a:pt x="2326481" y="504824"/>
                  <a:pt x="2371725" y="528637"/>
                </a:cubicBezTo>
                <a:cubicBezTo>
                  <a:pt x="2416969" y="552450"/>
                  <a:pt x="2437606" y="554831"/>
                  <a:pt x="2476500" y="566737"/>
                </a:cubicBezTo>
              </a:path>
            </a:pathLst>
          </a:custGeom>
          <a:noFill/>
          <a:ln w="508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050"/>
          </a:p>
        </p:txBody>
      </p:sp>
      <p:sp>
        <p:nvSpPr>
          <p:cNvPr id="96" name="Forma libre 95"/>
          <p:cNvSpPr/>
          <p:nvPr/>
        </p:nvSpPr>
        <p:spPr>
          <a:xfrm>
            <a:off x="5395596" y="2024972"/>
            <a:ext cx="2793206" cy="701207"/>
          </a:xfrm>
          <a:custGeom>
            <a:avLst/>
            <a:gdLst>
              <a:gd name="connsiteX0" fmla="*/ 0 w 3724275"/>
              <a:gd name="connsiteY0" fmla="*/ 0 h 934943"/>
              <a:gd name="connsiteX1" fmla="*/ 190500 w 3724275"/>
              <a:gd name="connsiteY1" fmla="*/ 52387 h 934943"/>
              <a:gd name="connsiteX2" fmla="*/ 338137 w 3724275"/>
              <a:gd name="connsiteY2" fmla="*/ 57150 h 934943"/>
              <a:gd name="connsiteX3" fmla="*/ 695325 w 3724275"/>
              <a:gd name="connsiteY3" fmla="*/ 95250 h 934943"/>
              <a:gd name="connsiteX4" fmla="*/ 842962 w 3724275"/>
              <a:gd name="connsiteY4" fmla="*/ 95250 h 934943"/>
              <a:gd name="connsiteX5" fmla="*/ 990600 w 3724275"/>
              <a:gd name="connsiteY5" fmla="*/ 119062 h 934943"/>
              <a:gd name="connsiteX6" fmla="*/ 1071562 w 3724275"/>
              <a:gd name="connsiteY6" fmla="*/ 128587 h 934943"/>
              <a:gd name="connsiteX7" fmla="*/ 1157287 w 3724275"/>
              <a:gd name="connsiteY7" fmla="*/ 152400 h 934943"/>
              <a:gd name="connsiteX8" fmla="*/ 1247775 w 3724275"/>
              <a:gd name="connsiteY8" fmla="*/ 209550 h 934943"/>
              <a:gd name="connsiteX9" fmla="*/ 1466850 w 3724275"/>
              <a:gd name="connsiteY9" fmla="*/ 414337 h 934943"/>
              <a:gd name="connsiteX10" fmla="*/ 1566862 w 3724275"/>
              <a:gd name="connsiteY10" fmla="*/ 438150 h 934943"/>
              <a:gd name="connsiteX11" fmla="*/ 1847850 w 3724275"/>
              <a:gd name="connsiteY11" fmla="*/ 404812 h 934943"/>
              <a:gd name="connsiteX12" fmla="*/ 1995487 w 3724275"/>
              <a:gd name="connsiteY12" fmla="*/ 385762 h 934943"/>
              <a:gd name="connsiteX13" fmla="*/ 2205037 w 3724275"/>
              <a:gd name="connsiteY13" fmla="*/ 423862 h 934943"/>
              <a:gd name="connsiteX14" fmla="*/ 2371725 w 3724275"/>
              <a:gd name="connsiteY14" fmla="*/ 528637 h 934943"/>
              <a:gd name="connsiteX15" fmla="*/ 2476500 w 3724275"/>
              <a:gd name="connsiteY15" fmla="*/ 566737 h 934943"/>
              <a:gd name="connsiteX16" fmla="*/ 2605087 w 3724275"/>
              <a:gd name="connsiteY16" fmla="*/ 600075 h 934943"/>
              <a:gd name="connsiteX17" fmla="*/ 2847975 w 3724275"/>
              <a:gd name="connsiteY17" fmla="*/ 619125 h 934943"/>
              <a:gd name="connsiteX18" fmla="*/ 2976562 w 3724275"/>
              <a:gd name="connsiteY18" fmla="*/ 638175 h 934943"/>
              <a:gd name="connsiteX19" fmla="*/ 3095625 w 3724275"/>
              <a:gd name="connsiteY19" fmla="*/ 695325 h 934943"/>
              <a:gd name="connsiteX20" fmla="*/ 3262312 w 3724275"/>
              <a:gd name="connsiteY20" fmla="*/ 804862 h 934943"/>
              <a:gd name="connsiteX21" fmla="*/ 3376612 w 3724275"/>
              <a:gd name="connsiteY21" fmla="*/ 871537 h 934943"/>
              <a:gd name="connsiteX22" fmla="*/ 3543300 w 3724275"/>
              <a:gd name="connsiteY22" fmla="*/ 928687 h 934943"/>
              <a:gd name="connsiteX23" fmla="*/ 3724275 w 3724275"/>
              <a:gd name="connsiteY23" fmla="*/ 933450 h 934943"/>
              <a:gd name="connsiteX24" fmla="*/ 3724275 w 3724275"/>
              <a:gd name="connsiteY24" fmla="*/ 933450 h 934943"/>
              <a:gd name="connsiteX0" fmla="*/ 0 w 3724275"/>
              <a:gd name="connsiteY0" fmla="*/ 0 h 934943"/>
              <a:gd name="connsiteX1" fmla="*/ 190500 w 3724275"/>
              <a:gd name="connsiteY1" fmla="*/ 52387 h 934943"/>
              <a:gd name="connsiteX2" fmla="*/ 338137 w 3724275"/>
              <a:gd name="connsiteY2" fmla="*/ 57150 h 934943"/>
              <a:gd name="connsiteX3" fmla="*/ 695325 w 3724275"/>
              <a:gd name="connsiteY3" fmla="*/ 95250 h 934943"/>
              <a:gd name="connsiteX4" fmla="*/ 842962 w 3724275"/>
              <a:gd name="connsiteY4" fmla="*/ 95250 h 934943"/>
              <a:gd name="connsiteX5" fmla="*/ 990600 w 3724275"/>
              <a:gd name="connsiteY5" fmla="*/ 119062 h 934943"/>
              <a:gd name="connsiteX6" fmla="*/ 1071562 w 3724275"/>
              <a:gd name="connsiteY6" fmla="*/ 128587 h 934943"/>
              <a:gd name="connsiteX7" fmla="*/ 1157287 w 3724275"/>
              <a:gd name="connsiteY7" fmla="*/ 152400 h 934943"/>
              <a:gd name="connsiteX8" fmla="*/ 1247775 w 3724275"/>
              <a:gd name="connsiteY8" fmla="*/ 209550 h 934943"/>
              <a:gd name="connsiteX9" fmla="*/ 1466850 w 3724275"/>
              <a:gd name="connsiteY9" fmla="*/ 414337 h 934943"/>
              <a:gd name="connsiteX10" fmla="*/ 1590675 w 3724275"/>
              <a:gd name="connsiteY10" fmla="*/ 452438 h 934943"/>
              <a:gd name="connsiteX11" fmla="*/ 1847850 w 3724275"/>
              <a:gd name="connsiteY11" fmla="*/ 404812 h 934943"/>
              <a:gd name="connsiteX12" fmla="*/ 1995487 w 3724275"/>
              <a:gd name="connsiteY12" fmla="*/ 385762 h 934943"/>
              <a:gd name="connsiteX13" fmla="*/ 2205037 w 3724275"/>
              <a:gd name="connsiteY13" fmla="*/ 423862 h 934943"/>
              <a:gd name="connsiteX14" fmla="*/ 2371725 w 3724275"/>
              <a:gd name="connsiteY14" fmla="*/ 528637 h 934943"/>
              <a:gd name="connsiteX15" fmla="*/ 2476500 w 3724275"/>
              <a:gd name="connsiteY15" fmla="*/ 566737 h 934943"/>
              <a:gd name="connsiteX16" fmla="*/ 2605087 w 3724275"/>
              <a:gd name="connsiteY16" fmla="*/ 600075 h 934943"/>
              <a:gd name="connsiteX17" fmla="*/ 2847975 w 3724275"/>
              <a:gd name="connsiteY17" fmla="*/ 619125 h 934943"/>
              <a:gd name="connsiteX18" fmla="*/ 2976562 w 3724275"/>
              <a:gd name="connsiteY18" fmla="*/ 638175 h 934943"/>
              <a:gd name="connsiteX19" fmla="*/ 3095625 w 3724275"/>
              <a:gd name="connsiteY19" fmla="*/ 695325 h 934943"/>
              <a:gd name="connsiteX20" fmla="*/ 3262312 w 3724275"/>
              <a:gd name="connsiteY20" fmla="*/ 804862 h 934943"/>
              <a:gd name="connsiteX21" fmla="*/ 3376612 w 3724275"/>
              <a:gd name="connsiteY21" fmla="*/ 871537 h 934943"/>
              <a:gd name="connsiteX22" fmla="*/ 3543300 w 3724275"/>
              <a:gd name="connsiteY22" fmla="*/ 928687 h 934943"/>
              <a:gd name="connsiteX23" fmla="*/ 3724275 w 3724275"/>
              <a:gd name="connsiteY23" fmla="*/ 933450 h 934943"/>
              <a:gd name="connsiteX24" fmla="*/ 3724275 w 3724275"/>
              <a:gd name="connsiteY24" fmla="*/ 933450 h 9349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3724275" h="934943">
                <a:moveTo>
                  <a:pt x="0" y="0"/>
                </a:moveTo>
                <a:cubicBezTo>
                  <a:pt x="67072" y="21431"/>
                  <a:pt x="134144" y="42862"/>
                  <a:pt x="190500" y="52387"/>
                </a:cubicBezTo>
                <a:cubicBezTo>
                  <a:pt x="246856" y="61912"/>
                  <a:pt x="254000" y="50006"/>
                  <a:pt x="338137" y="57150"/>
                </a:cubicBezTo>
                <a:cubicBezTo>
                  <a:pt x="422275" y="64294"/>
                  <a:pt x="611188" y="88900"/>
                  <a:pt x="695325" y="95250"/>
                </a:cubicBezTo>
                <a:cubicBezTo>
                  <a:pt x="779462" y="101600"/>
                  <a:pt x="793750" y="91281"/>
                  <a:pt x="842962" y="95250"/>
                </a:cubicBezTo>
                <a:cubicBezTo>
                  <a:pt x="892174" y="99219"/>
                  <a:pt x="952500" y="113506"/>
                  <a:pt x="990600" y="119062"/>
                </a:cubicBezTo>
                <a:cubicBezTo>
                  <a:pt x="1028700" y="124618"/>
                  <a:pt x="1043781" y="123031"/>
                  <a:pt x="1071562" y="128587"/>
                </a:cubicBezTo>
                <a:cubicBezTo>
                  <a:pt x="1099343" y="134143"/>
                  <a:pt x="1127918" y="138906"/>
                  <a:pt x="1157287" y="152400"/>
                </a:cubicBezTo>
                <a:cubicBezTo>
                  <a:pt x="1186656" y="165894"/>
                  <a:pt x="1196181" y="165894"/>
                  <a:pt x="1247775" y="209550"/>
                </a:cubicBezTo>
                <a:cubicBezTo>
                  <a:pt x="1299369" y="253206"/>
                  <a:pt x="1409700" y="373856"/>
                  <a:pt x="1466850" y="414337"/>
                </a:cubicBezTo>
                <a:cubicBezTo>
                  <a:pt x="1524000" y="454818"/>
                  <a:pt x="1527175" y="454025"/>
                  <a:pt x="1590675" y="452438"/>
                </a:cubicBezTo>
                <a:cubicBezTo>
                  <a:pt x="1654175" y="450851"/>
                  <a:pt x="1780381" y="415925"/>
                  <a:pt x="1847850" y="404812"/>
                </a:cubicBezTo>
                <a:cubicBezTo>
                  <a:pt x="1915319" y="393699"/>
                  <a:pt x="1935956" y="382587"/>
                  <a:pt x="1995487" y="385762"/>
                </a:cubicBezTo>
                <a:cubicBezTo>
                  <a:pt x="2055018" y="388937"/>
                  <a:pt x="2142331" y="400050"/>
                  <a:pt x="2205037" y="423862"/>
                </a:cubicBezTo>
                <a:cubicBezTo>
                  <a:pt x="2267743" y="447674"/>
                  <a:pt x="2326481" y="504824"/>
                  <a:pt x="2371725" y="528637"/>
                </a:cubicBezTo>
                <a:cubicBezTo>
                  <a:pt x="2416969" y="552450"/>
                  <a:pt x="2437606" y="554831"/>
                  <a:pt x="2476500" y="566737"/>
                </a:cubicBezTo>
                <a:cubicBezTo>
                  <a:pt x="2515394" y="578643"/>
                  <a:pt x="2543175" y="591344"/>
                  <a:pt x="2605087" y="600075"/>
                </a:cubicBezTo>
                <a:cubicBezTo>
                  <a:pt x="2666999" y="608806"/>
                  <a:pt x="2786063" y="612775"/>
                  <a:pt x="2847975" y="619125"/>
                </a:cubicBezTo>
                <a:cubicBezTo>
                  <a:pt x="2909888" y="625475"/>
                  <a:pt x="2935287" y="625475"/>
                  <a:pt x="2976562" y="638175"/>
                </a:cubicBezTo>
                <a:cubicBezTo>
                  <a:pt x="3017837" y="650875"/>
                  <a:pt x="3048000" y="667544"/>
                  <a:pt x="3095625" y="695325"/>
                </a:cubicBezTo>
                <a:cubicBezTo>
                  <a:pt x="3143250" y="723106"/>
                  <a:pt x="3215481" y="775493"/>
                  <a:pt x="3262312" y="804862"/>
                </a:cubicBezTo>
                <a:cubicBezTo>
                  <a:pt x="3309143" y="834231"/>
                  <a:pt x="3329781" y="850899"/>
                  <a:pt x="3376612" y="871537"/>
                </a:cubicBezTo>
                <a:cubicBezTo>
                  <a:pt x="3423443" y="892175"/>
                  <a:pt x="3485356" y="918368"/>
                  <a:pt x="3543300" y="928687"/>
                </a:cubicBezTo>
                <a:cubicBezTo>
                  <a:pt x="3601244" y="939006"/>
                  <a:pt x="3724275" y="933450"/>
                  <a:pt x="3724275" y="933450"/>
                </a:cubicBezTo>
                <a:lnTo>
                  <a:pt x="3724275" y="933450"/>
                </a:lnTo>
              </a:path>
            </a:pathLst>
          </a:custGeom>
          <a:noFill/>
          <a:ln w="508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050"/>
          </a:p>
        </p:txBody>
      </p:sp>
      <p:sp>
        <p:nvSpPr>
          <p:cNvPr id="89" name="Elipse 88"/>
          <p:cNvSpPr/>
          <p:nvPr/>
        </p:nvSpPr>
        <p:spPr>
          <a:xfrm>
            <a:off x="5991333" y="2080217"/>
            <a:ext cx="122912" cy="97257"/>
          </a:xfrm>
          <a:prstGeom prst="ellipse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050"/>
          </a:p>
        </p:txBody>
      </p:sp>
      <p:sp>
        <p:nvSpPr>
          <p:cNvPr id="7" name="Forma libre 6"/>
          <p:cNvSpPr/>
          <p:nvPr/>
        </p:nvSpPr>
        <p:spPr>
          <a:xfrm>
            <a:off x="7224713" y="2509838"/>
            <a:ext cx="933450" cy="268532"/>
          </a:xfrm>
          <a:custGeom>
            <a:avLst/>
            <a:gdLst>
              <a:gd name="connsiteX0" fmla="*/ 0 w 1244600"/>
              <a:gd name="connsiteY0" fmla="*/ 0 h 358043"/>
              <a:gd name="connsiteX1" fmla="*/ 82550 w 1244600"/>
              <a:gd name="connsiteY1" fmla="*/ 19050 h 358043"/>
              <a:gd name="connsiteX2" fmla="*/ 203200 w 1244600"/>
              <a:gd name="connsiteY2" fmla="*/ 25400 h 358043"/>
              <a:gd name="connsiteX3" fmla="*/ 374650 w 1244600"/>
              <a:gd name="connsiteY3" fmla="*/ 38100 h 358043"/>
              <a:gd name="connsiteX4" fmla="*/ 482600 w 1244600"/>
              <a:gd name="connsiteY4" fmla="*/ 50800 h 358043"/>
              <a:gd name="connsiteX5" fmla="*/ 635000 w 1244600"/>
              <a:gd name="connsiteY5" fmla="*/ 146050 h 358043"/>
              <a:gd name="connsiteX6" fmla="*/ 755650 w 1244600"/>
              <a:gd name="connsiteY6" fmla="*/ 228600 h 358043"/>
              <a:gd name="connsiteX7" fmla="*/ 914400 w 1244600"/>
              <a:gd name="connsiteY7" fmla="*/ 330200 h 358043"/>
              <a:gd name="connsiteX8" fmla="*/ 1111250 w 1244600"/>
              <a:gd name="connsiteY8" fmla="*/ 355600 h 358043"/>
              <a:gd name="connsiteX9" fmla="*/ 1244600 w 1244600"/>
              <a:gd name="connsiteY9" fmla="*/ 355600 h 358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44600" h="358043">
                <a:moveTo>
                  <a:pt x="0" y="0"/>
                </a:moveTo>
                <a:cubicBezTo>
                  <a:pt x="24341" y="7408"/>
                  <a:pt x="48683" y="14817"/>
                  <a:pt x="82550" y="19050"/>
                </a:cubicBezTo>
                <a:cubicBezTo>
                  <a:pt x="116417" y="23283"/>
                  <a:pt x="203200" y="25400"/>
                  <a:pt x="203200" y="25400"/>
                </a:cubicBezTo>
                <a:lnTo>
                  <a:pt x="374650" y="38100"/>
                </a:lnTo>
                <a:cubicBezTo>
                  <a:pt x="421217" y="42333"/>
                  <a:pt x="439208" y="32808"/>
                  <a:pt x="482600" y="50800"/>
                </a:cubicBezTo>
                <a:cubicBezTo>
                  <a:pt x="525992" y="68792"/>
                  <a:pt x="589492" y="116417"/>
                  <a:pt x="635000" y="146050"/>
                </a:cubicBezTo>
                <a:cubicBezTo>
                  <a:pt x="680508" y="175683"/>
                  <a:pt x="709083" y="197908"/>
                  <a:pt x="755650" y="228600"/>
                </a:cubicBezTo>
                <a:cubicBezTo>
                  <a:pt x="802217" y="259292"/>
                  <a:pt x="855133" y="309033"/>
                  <a:pt x="914400" y="330200"/>
                </a:cubicBezTo>
                <a:cubicBezTo>
                  <a:pt x="973667" y="351367"/>
                  <a:pt x="1056217" y="351367"/>
                  <a:pt x="1111250" y="355600"/>
                </a:cubicBezTo>
                <a:cubicBezTo>
                  <a:pt x="1166283" y="359833"/>
                  <a:pt x="1205441" y="357716"/>
                  <a:pt x="1244600" y="355600"/>
                </a:cubicBezTo>
              </a:path>
            </a:pathLst>
          </a:custGeom>
          <a:noFill/>
          <a:ln w="508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050"/>
          </a:p>
        </p:txBody>
      </p:sp>
      <p:sp>
        <p:nvSpPr>
          <p:cNvPr id="110" name="Forma libre 109"/>
          <p:cNvSpPr/>
          <p:nvPr/>
        </p:nvSpPr>
        <p:spPr>
          <a:xfrm>
            <a:off x="5351223" y="2139219"/>
            <a:ext cx="1857375" cy="425053"/>
          </a:xfrm>
          <a:custGeom>
            <a:avLst/>
            <a:gdLst>
              <a:gd name="connsiteX0" fmla="*/ 0 w 3724275"/>
              <a:gd name="connsiteY0" fmla="*/ 0 h 934943"/>
              <a:gd name="connsiteX1" fmla="*/ 190500 w 3724275"/>
              <a:gd name="connsiteY1" fmla="*/ 52387 h 934943"/>
              <a:gd name="connsiteX2" fmla="*/ 338137 w 3724275"/>
              <a:gd name="connsiteY2" fmla="*/ 57150 h 934943"/>
              <a:gd name="connsiteX3" fmla="*/ 695325 w 3724275"/>
              <a:gd name="connsiteY3" fmla="*/ 95250 h 934943"/>
              <a:gd name="connsiteX4" fmla="*/ 842962 w 3724275"/>
              <a:gd name="connsiteY4" fmla="*/ 95250 h 934943"/>
              <a:gd name="connsiteX5" fmla="*/ 990600 w 3724275"/>
              <a:gd name="connsiteY5" fmla="*/ 119062 h 934943"/>
              <a:gd name="connsiteX6" fmla="*/ 1071562 w 3724275"/>
              <a:gd name="connsiteY6" fmla="*/ 128587 h 934943"/>
              <a:gd name="connsiteX7" fmla="*/ 1157287 w 3724275"/>
              <a:gd name="connsiteY7" fmla="*/ 152400 h 934943"/>
              <a:gd name="connsiteX8" fmla="*/ 1247775 w 3724275"/>
              <a:gd name="connsiteY8" fmla="*/ 209550 h 934943"/>
              <a:gd name="connsiteX9" fmla="*/ 1466850 w 3724275"/>
              <a:gd name="connsiteY9" fmla="*/ 414337 h 934943"/>
              <a:gd name="connsiteX10" fmla="*/ 1566862 w 3724275"/>
              <a:gd name="connsiteY10" fmla="*/ 438150 h 934943"/>
              <a:gd name="connsiteX11" fmla="*/ 1847850 w 3724275"/>
              <a:gd name="connsiteY11" fmla="*/ 404812 h 934943"/>
              <a:gd name="connsiteX12" fmla="*/ 1995487 w 3724275"/>
              <a:gd name="connsiteY12" fmla="*/ 385762 h 934943"/>
              <a:gd name="connsiteX13" fmla="*/ 2205037 w 3724275"/>
              <a:gd name="connsiteY13" fmla="*/ 423862 h 934943"/>
              <a:gd name="connsiteX14" fmla="*/ 2371725 w 3724275"/>
              <a:gd name="connsiteY14" fmla="*/ 528637 h 934943"/>
              <a:gd name="connsiteX15" fmla="*/ 2476500 w 3724275"/>
              <a:gd name="connsiteY15" fmla="*/ 566737 h 934943"/>
              <a:gd name="connsiteX16" fmla="*/ 2605087 w 3724275"/>
              <a:gd name="connsiteY16" fmla="*/ 600075 h 934943"/>
              <a:gd name="connsiteX17" fmla="*/ 2847975 w 3724275"/>
              <a:gd name="connsiteY17" fmla="*/ 619125 h 934943"/>
              <a:gd name="connsiteX18" fmla="*/ 2976562 w 3724275"/>
              <a:gd name="connsiteY18" fmla="*/ 638175 h 934943"/>
              <a:gd name="connsiteX19" fmla="*/ 3095625 w 3724275"/>
              <a:gd name="connsiteY19" fmla="*/ 695325 h 934943"/>
              <a:gd name="connsiteX20" fmla="*/ 3262312 w 3724275"/>
              <a:gd name="connsiteY20" fmla="*/ 804862 h 934943"/>
              <a:gd name="connsiteX21" fmla="*/ 3376612 w 3724275"/>
              <a:gd name="connsiteY21" fmla="*/ 871537 h 934943"/>
              <a:gd name="connsiteX22" fmla="*/ 3543300 w 3724275"/>
              <a:gd name="connsiteY22" fmla="*/ 928687 h 934943"/>
              <a:gd name="connsiteX23" fmla="*/ 3724275 w 3724275"/>
              <a:gd name="connsiteY23" fmla="*/ 933450 h 934943"/>
              <a:gd name="connsiteX24" fmla="*/ 3724275 w 3724275"/>
              <a:gd name="connsiteY24" fmla="*/ 933450 h 934943"/>
              <a:gd name="connsiteX0" fmla="*/ 0 w 3724275"/>
              <a:gd name="connsiteY0" fmla="*/ 0 h 934943"/>
              <a:gd name="connsiteX1" fmla="*/ 190500 w 3724275"/>
              <a:gd name="connsiteY1" fmla="*/ 52387 h 934943"/>
              <a:gd name="connsiteX2" fmla="*/ 338137 w 3724275"/>
              <a:gd name="connsiteY2" fmla="*/ 57150 h 934943"/>
              <a:gd name="connsiteX3" fmla="*/ 695325 w 3724275"/>
              <a:gd name="connsiteY3" fmla="*/ 95250 h 934943"/>
              <a:gd name="connsiteX4" fmla="*/ 842962 w 3724275"/>
              <a:gd name="connsiteY4" fmla="*/ 95250 h 934943"/>
              <a:gd name="connsiteX5" fmla="*/ 990600 w 3724275"/>
              <a:gd name="connsiteY5" fmla="*/ 119062 h 934943"/>
              <a:gd name="connsiteX6" fmla="*/ 1071562 w 3724275"/>
              <a:gd name="connsiteY6" fmla="*/ 128587 h 934943"/>
              <a:gd name="connsiteX7" fmla="*/ 1157287 w 3724275"/>
              <a:gd name="connsiteY7" fmla="*/ 152400 h 934943"/>
              <a:gd name="connsiteX8" fmla="*/ 1247775 w 3724275"/>
              <a:gd name="connsiteY8" fmla="*/ 209550 h 934943"/>
              <a:gd name="connsiteX9" fmla="*/ 1466850 w 3724275"/>
              <a:gd name="connsiteY9" fmla="*/ 414337 h 934943"/>
              <a:gd name="connsiteX10" fmla="*/ 1590675 w 3724275"/>
              <a:gd name="connsiteY10" fmla="*/ 452438 h 934943"/>
              <a:gd name="connsiteX11" fmla="*/ 1847850 w 3724275"/>
              <a:gd name="connsiteY11" fmla="*/ 404812 h 934943"/>
              <a:gd name="connsiteX12" fmla="*/ 1995487 w 3724275"/>
              <a:gd name="connsiteY12" fmla="*/ 385762 h 934943"/>
              <a:gd name="connsiteX13" fmla="*/ 2205037 w 3724275"/>
              <a:gd name="connsiteY13" fmla="*/ 423862 h 934943"/>
              <a:gd name="connsiteX14" fmla="*/ 2371725 w 3724275"/>
              <a:gd name="connsiteY14" fmla="*/ 528637 h 934943"/>
              <a:gd name="connsiteX15" fmla="*/ 2476500 w 3724275"/>
              <a:gd name="connsiteY15" fmla="*/ 566737 h 934943"/>
              <a:gd name="connsiteX16" fmla="*/ 2605087 w 3724275"/>
              <a:gd name="connsiteY16" fmla="*/ 600075 h 934943"/>
              <a:gd name="connsiteX17" fmla="*/ 2847975 w 3724275"/>
              <a:gd name="connsiteY17" fmla="*/ 619125 h 934943"/>
              <a:gd name="connsiteX18" fmla="*/ 2976562 w 3724275"/>
              <a:gd name="connsiteY18" fmla="*/ 638175 h 934943"/>
              <a:gd name="connsiteX19" fmla="*/ 3095625 w 3724275"/>
              <a:gd name="connsiteY19" fmla="*/ 695325 h 934943"/>
              <a:gd name="connsiteX20" fmla="*/ 3262312 w 3724275"/>
              <a:gd name="connsiteY20" fmla="*/ 804862 h 934943"/>
              <a:gd name="connsiteX21" fmla="*/ 3376612 w 3724275"/>
              <a:gd name="connsiteY21" fmla="*/ 871537 h 934943"/>
              <a:gd name="connsiteX22" fmla="*/ 3543300 w 3724275"/>
              <a:gd name="connsiteY22" fmla="*/ 928687 h 934943"/>
              <a:gd name="connsiteX23" fmla="*/ 3724275 w 3724275"/>
              <a:gd name="connsiteY23" fmla="*/ 933450 h 934943"/>
              <a:gd name="connsiteX24" fmla="*/ 3724275 w 3724275"/>
              <a:gd name="connsiteY24" fmla="*/ 933450 h 934943"/>
              <a:gd name="connsiteX0" fmla="*/ 0 w 3724275"/>
              <a:gd name="connsiteY0" fmla="*/ 0 h 934943"/>
              <a:gd name="connsiteX1" fmla="*/ 190500 w 3724275"/>
              <a:gd name="connsiteY1" fmla="*/ 52387 h 934943"/>
              <a:gd name="connsiteX2" fmla="*/ 338137 w 3724275"/>
              <a:gd name="connsiteY2" fmla="*/ 57150 h 934943"/>
              <a:gd name="connsiteX3" fmla="*/ 695325 w 3724275"/>
              <a:gd name="connsiteY3" fmla="*/ 95250 h 934943"/>
              <a:gd name="connsiteX4" fmla="*/ 842962 w 3724275"/>
              <a:gd name="connsiteY4" fmla="*/ 95250 h 934943"/>
              <a:gd name="connsiteX5" fmla="*/ 990600 w 3724275"/>
              <a:gd name="connsiteY5" fmla="*/ 119062 h 934943"/>
              <a:gd name="connsiteX6" fmla="*/ 1071562 w 3724275"/>
              <a:gd name="connsiteY6" fmla="*/ 128587 h 934943"/>
              <a:gd name="connsiteX7" fmla="*/ 1157287 w 3724275"/>
              <a:gd name="connsiteY7" fmla="*/ 152400 h 934943"/>
              <a:gd name="connsiteX8" fmla="*/ 1247775 w 3724275"/>
              <a:gd name="connsiteY8" fmla="*/ 209550 h 934943"/>
              <a:gd name="connsiteX9" fmla="*/ 1466850 w 3724275"/>
              <a:gd name="connsiteY9" fmla="*/ 414337 h 934943"/>
              <a:gd name="connsiteX10" fmla="*/ 1590675 w 3724275"/>
              <a:gd name="connsiteY10" fmla="*/ 452438 h 934943"/>
              <a:gd name="connsiteX11" fmla="*/ 1847850 w 3724275"/>
              <a:gd name="connsiteY11" fmla="*/ 404812 h 934943"/>
              <a:gd name="connsiteX12" fmla="*/ 1995487 w 3724275"/>
              <a:gd name="connsiteY12" fmla="*/ 385762 h 934943"/>
              <a:gd name="connsiteX13" fmla="*/ 2205037 w 3724275"/>
              <a:gd name="connsiteY13" fmla="*/ 423862 h 934943"/>
              <a:gd name="connsiteX14" fmla="*/ 2371725 w 3724275"/>
              <a:gd name="connsiteY14" fmla="*/ 528637 h 934943"/>
              <a:gd name="connsiteX15" fmla="*/ 2476500 w 3724275"/>
              <a:gd name="connsiteY15" fmla="*/ 566737 h 934943"/>
              <a:gd name="connsiteX16" fmla="*/ 2605087 w 3724275"/>
              <a:gd name="connsiteY16" fmla="*/ 600075 h 934943"/>
              <a:gd name="connsiteX17" fmla="*/ 2847975 w 3724275"/>
              <a:gd name="connsiteY17" fmla="*/ 619125 h 934943"/>
              <a:gd name="connsiteX18" fmla="*/ 2976562 w 3724275"/>
              <a:gd name="connsiteY18" fmla="*/ 638175 h 934943"/>
              <a:gd name="connsiteX19" fmla="*/ 3095625 w 3724275"/>
              <a:gd name="connsiteY19" fmla="*/ 695325 h 934943"/>
              <a:gd name="connsiteX20" fmla="*/ 3262312 w 3724275"/>
              <a:gd name="connsiteY20" fmla="*/ 804862 h 934943"/>
              <a:gd name="connsiteX21" fmla="*/ 3376612 w 3724275"/>
              <a:gd name="connsiteY21" fmla="*/ 871537 h 934943"/>
              <a:gd name="connsiteX22" fmla="*/ 3543300 w 3724275"/>
              <a:gd name="connsiteY22" fmla="*/ 928687 h 934943"/>
              <a:gd name="connsiteX23" fmla="*/ 3724275 w 3724275"/>
              <a:gd name="connsiteY23" fmla="*/ 933450 h 934943"/>
              <a:gd name="connsiteX0" fmla="*/ 0 w 3543300"/>
              <a:gd name="connsiteY0" fmla="*/ 0 h 928687"/>
              <a:gd name="connsiteX1" fmla="*/ 190500 w 3543300"/>
              <a:gd name="connsiteY1" fmla="*/ 52387 h 928687"/>
              <a:gd name="connsiteX2" fmla="*/ 338137 w 3543300"/>
              <a:gd name="connsiteY2" fmla="*/ 57150 h 928687"/>
              <a:gd name="connsiteX3" fmla="*/ 695325 w 3543300"/>
              <a:gd name="connsiteY3" fmla="*/ 95250 h 928687"/>
              <a:gd name="connsiteX4" fmla="*/ 842962 w 3543300"/>
              <a:gd name="connsiteY4" fmla="*/ 95250 h 928687"/>
              <a:gd name="connsiteX5" fmla="*/ 990600 w 3543300"/>
              <a:gd name="connsiteY5" fmla="*/ 119062 h 928687"/>
              <a:gd name="connsiteX6" fmla="*/ 1071562 w 3543300"/>
              <a:gd name="connsiteY6" fmla="*/ 128587 h 928687"/>
              <a:gd name="connsiteX7" fmla="*/ 1157287 w 3543300"/>
              <a:gd name="connsiteY7" fmla="*/ 152400 h 928687"/>
              <a:gd name="connsiteX8" fmla="*/ 1247775 w 3543300"/>
              <a:gd name="connsiteY8" fmla="*/ 209550 h 928687"/>
              <a:gd name="connsiteX9" fmla="*/ 1466850 w 3543300"/>
              <a:gd name="connsiteY9" fmla="*/ 414337 h 928687"/>
              <a:gd name="connsiteX10" fmla="*/ 1590675 w 3543300"/>
              <a:gd name="connsiteY10" fmla="*/ 452438 h 928687"/>
              <a:gd name="connsiteX11" fmla="*/ 1847850 w 3543300"/>
              <a:gd name="connsiteY11" fmla="*/ 404812 h 928687"/>
              <a:gd name="connsiteX12" fmla="*/ 1995487 w 3543300"/>
              <a:gd name="connsiteY12" fmla="*/ 385762 h 928687"/>
              <a:gd name="connsiteX13" fmla="*/ 2205037 w 3543300"/>
              <a:gd name="connsiteY13" fmla="*/ 423862 h 928687"/>
              <a:gd name="connsiteX14" fmla="*/ 2371725 w 3543300"/>
              <a:gd name="connsiteY14" fmla="*/ 528637 h 928687"/>
              <a:gd name="connsiteX15" fmla="*/ 2476500 w 3543300"/>
              <a:gd name="connsiteY15" fmla="*/ 566737 h 928687"/>
              <a:gd name="connsiteX16" fmla="*/ 2605087 w 3543300"/>
              <a:gd name="connsiteY16" fmla="*/ 600075 h 928687"/>
              <a:gd name="connsiteX17" fmla="*/ 2847975 w 3543300"/>
              <a:gd name="connsiteY17" fmla="*/ 619125 h 928687"/>
              <a:gd name="connsiteX18" fmla="*/ 2976562 w 3543300"/>
              <a:gd name="connsiteY18" fmla="*/ 638175 h 928687"/>
              <a:gd name="connsiteX19" fmla="*/ 3095625 w 3543300"/>
              <a:gd name="connsiteY19" fmla="*/ 695325 h 928687"/>
              <a:gd name="connsiteX20" fmla="*/ 3262312 w 3543300"/>
              <a:gd name="connsiteY20" fmla="*/ 804862 h 928687"/>
              <a:gd name="connsiteX21" fmla="*/ 3376612 w 3543300"/>
              <a:gd name="connsiteY21" fmla="*/ 871537 h 928687"/>
              <a:gd name="connsiteX22" fmla="*/ 3543300 w 3543300"/>
              <a:gd name="connsiteY22" fmla="*/ 928687 h 928687"/>
              <a:gd name="connsiteX0" fmla="*/ 0 w 3376612"/>
              <a:gd name="connsiteY0" fmla="*/ 0 h 871537"/>
              <a:gd name="connsiteX1" fmla="*/ 190500 w 3376612"/>
              <a:gd name="connsiteY1" fmla="*/ 52387 h 871537"/>
              <a:gd name="connsiteX2" fmla="*/ 338137 w 3376612"/>
              <a:gd name="connsiteY2" fmla="*/ 57150 h 871537"/>
              <a:gd name="connsiteX3" fmla="*/ 695325 w 3376612"/>
              <a:gd name="connsiteY3" fmla="*/ 95250 h 871537"/>
              <a:gd name="connsiteX4" fmla="*/ 842962 w 3376612"/>
              <a:gd name="connsiteY4" fmla="*/ 95250 h 871537"/>
              <a:gd name="connsiteX5" fmla="*/ 990600 w 3376612"/>
              <a:gd name="connsiteY5" fmla="*/ 119062 h 871537"/>
              <a:gd name="connsiteX6" fmla="*/ 1071562 w 3376612"/>
              <a:gd name="connsiteY6" fmla="*/ 128587 h 871537"/>
              <a:gd name="connsiteX7" fmla="*/ 1157287 w 3376612"/>
              <a:gd name="connsiteY7" fmla="*/ 152400 h 871537"/>
              <a:gd name="connsiteX8" fmla="*/ 1247775 w 3376612"/>
              <a:gd name="connsiteY8" fmla="*/ 209550 h 871537"/>
              <a:gd name="connsiteX9" fmla="*/ 1466850 w 3376612"/>
              <a:gd name="connsiteY9" fmla="*/ 414337 h 871537"/>
              <a:gd name="connsiteX10" fmla="*/ 1590675 w 3376612"/>
              <a:gd name="connsiteY10" fmla="*/ 452438 h 871537"/>
              <a:gd name="connsiteX11" fmla="*/ 1847850 w 3376612"/>
              <a:gd name="connsiteY11" fmla="*/ 404812 h 871537"/>
              <a:gd name="connsiteX12" fmla="*/ 1995487 w 3376612"/>
              <a:gd name="connsiteY12" fmla="*/ 385762 h 871537"/>
              <a:gd name="connsiteX13" fmla="*/ 2205037 w 3376612"/>
              <a:gd name="connsiteY13" fmla="*/ 423862 h 871537"/>
              <a:gd name="connsiteX14" fmla="*/ 2371725 w 3376612"/>
              <a:gd name="connsiteY14" fmla="*/ 528637 h 871537"/>
              <a:gd name="connsiteX15" fmla="*/ 2476500 w 3376612"/>
              <a:gd name="connsiteY15" fmla="*/ 566737 h 871537"/>
              <a:gd name="connsiteX16" fmla="*/ 2605087 w 3376612"/>
              <a:gd name="connsiteY16" fmla="*/ 600075 h 871537"/>
              <a:gd name="connsiteX17" fmla="*/ 2847975 w 3376612"/>
              <a:gd name="connsiteY17" fmla="*/ 619125 h 871537"/>
              <a:gd name="connsiteX18" fmla="*/ 2976562 w 3376612"/>
              <a:gd name="connsiteY18" fmla="*/ 638175 h 871537"/>
              <a:gd name="connsiteX19" fmla="*/ 3095625 w 3376612"/>
              <a:gd name="connsiteY19" fmla="*/ 695325 h 871537"/>
              <a:gd name="connsiteX20" fmla="*/ 3262312 w 3376612"/>
              <a:gd name="connsiteY20" fmla="*/ 804862 h 871537"/>
              <a:gd name="connsiteX21" fmla="*/ 3376612 w 3376612"/>
              <a:gd name="connsiteY21" fmla="*/ 871537 h 871537"/>
              <a:gd name="connsiteX0" fmla="*/ 0 w 3262312"/>
              <a:gd name="connsiteY0" fmla="*/ 0 h 804862"/>
              <a:gd name="connsiteX1" fmla="*/ 190500 w 3262312"/>
              <a:gd name="connsiteY1" fmla="*/ 52387 h 804862"/>
              <a:gd name="connsiteX2" fmla="*/ 338137 w 3262312"/>
              <a:gd name="connsiteY2" fmla="*/ 57150 h 804862"/>
              <a:gd name="connsiteX3" fmla="*/ 695325 w 3262312"/>
              <a:gd name="connsiteY3" fmla="*/ 95250 h 804862"/>
              <a:gd name="connsiteX4" fmla="*/ 842962 w 3262312"/>
              <a:gd name="connsiteY4" fmla="*/ 95250 h 804862"/>
              <a:gd name="connsiteX5" fmla="*/ 990600 w 3262312"/>
              <a:gd name="connsiteY5" fmla="*/ 119062 h 804862"/>
              <a:gd name="connsiteX6" fmla="*/ 1071562 w 3262312"/>
              <a:gd name="connsiteY6" fmla="*/ 128587 h 804862"/>
              <a:gd name="connsiteX7" fmla="*/ 1157287 w 3262312"/>
              <a:gd name="connsiteY7" fmla="*/ 152400 h 804862"/>
              <a:gd name="connsiteX8" fmla="*/ 1247775 w 3262312"/>
              <a:gd name="connsiteY8" fmla="*/ 209550 h 804862"/>
              <a:gd name="connsiteX9" fmla="*/ 1466850 w 3262312"/>
              <a:gd name="connsiteY9" fmla="*/ 414337 h 804862"/>
              <a:gd name="connsiteX10" fmla="*/ 1590675 w 3262312"/>
              <a:gd name="connsiteY10" fmla="*/ 452438 h 804862"/>
              <a:gd name="connsiteX11" fmla="*/ 1847850 w 3262312"/>
              <a:gd name="connsiteY11" fmla="*/ 404812 h 804862"/>
              <a:gd name="connsiteX12" fmla="*/ 1995487 w 3262312"/>
              <a:gd name="connsiteY12" fmla="*/ 385762 h 804862"/>
              <a:gd name="connsiteX13" fmla="*/ 2205037 w 3262312"/>
              <a:gd name="connsiteY13" fmla="*/ 423862 h 804862"/>
              <a:gd name="connsiteX14" fmla="*/ 2371725 w 3262312"/>
              <a:gd name="connsiteY14" fmla="*/ 528637 h 804862"/>
              <a:gd name="connsiteX15" fmla="*/ 2476500 w 3262312"/>
              <a:gd name="connsiteY15" fmla="*/ 566737 h 804862"/>
              <a:gd name="connsiteX16" fmla="*/ 2605087 w 3262312"/>
              <a:gd name="connsiteY16" fmla="*/ 600075 h 804862"/>
              <a:gd name="connsiteX17" fmla="*/ 2847975 w 3262312"/>
              <a:gd name="connsiteY17" fmla="*/ 619125 h 804862"/>
              <a:gd name="connsiteX18" fmla="*/ 2976562 w 3262312"/>
              <a:gd name="connsiteY18" fmla="*/ 638175 h 804862"/>
              <a:gd name="connsiteX19" fmla="*/ 3095625 w 3262312"/>
              <a:gd name="connsiteY19" fmla="*/ 695325 h 804862"/>
              <a:gd name="connsiteX20" fmla="*/ 3262312 w 3262312"/>
              <a:gd name="connsiteY20" fmla="*/ 804862 h 804862"/>
              <a:gd name="connsiteX0" fmla="*/ 0 w 3095625"/>
              <a:gd name="connsiteY0" fmla="*/ 0 h 695325"/>
              <a:gd name="connsiteX1" fmla="*/ 190500 w 3095625"/>
              <a:gd name="connsiteY1" fmla="*/ 52387 h 695325"/>
              <a:gd name="connsiteX2" fmla="*/ 338137 w 3095625"/>
              <a:gd name="connsiteY2" fmla="*/ 57150 h 695325"/>
              <a:gd name="connsiteX3" fmla="*/ 695325 w 3095625"/>
              <a:gd name="connsiteY3" fmla="*/ 95250 h 695325"/>
              <a:gd name="connsiteX4" fmla="*/ 842962 w 3095625"/>
              <a:gd name="connsiteY4" fmla="*/ 95250 h 695325"/>
              <a:gd name="connsiteX5" fmla="*/ 990600 w 3095625"/>
              <a:gd name="connsiteY5" fmla="*/ 119062 h 695325"/>
              <a:gd name="connsiteX6" fmla="*/ 1071562 w 3095625"/>
              <a:gd name="connsiteY6" fmla="*/ 128587 h 695325"/>
              <a:gd name="connsiteX7" fmla="*/ 1157287 w 3095625"/>
              <a:gd name="connsiteY7" fmla="*/ 152400 h 695325"/>
              <a:gd name="connsiteX8" fmla="*/ 1247775 w 3095625"/>
              <a:gd name="connsiteY8" fmla="*/ 209550 h 695325"/>
              <a:gd name="connsiteX9" fmla="*/ 1466850 w 3095625"/>
              <a:gd name="connsiteY9" fmla="*/ 414337 h 695325"/>
              <a:gd name="connsiteX10" fmla="*/ 1590675 w 3095625"/>
              <a:gd name="connsiteY10" fmla="*/ 452438 h 695325"/>
              <a:gd name="connsiteX11" fmla="*/ 1847850 w 3095625"/>
              <a:gd name="connsiteY11" fmla="*/ 404812 h 695325"/>
              <a:gd name="connsiteX12" fmla="*/ 1995487 w 3095625"/>
              <a:gd name="connsiteY12" fmla="*/ 385762 h 695325"/>
              <a:gd name="connsiteX13" fmla="*/ 2205037 w 3095625"/>
              <a:gd name="connsiteY13" fmla="*/ 423862 h 695325"/>
              <a:gd name="connsiteX14" fmla="*/ 2371725 w 3095625"/>
              <a:gd name="connsiteY14" fmla="*/ 528637 h 695325"/>
              <a:gd name="connsiteX15" fmla="*/ 2476500 w 3095625"/>
              <a:gd name="connsiteY15" fmla="*/ 566737 h 695325"/>
              <a:gd name="connsiteX16" fmla="*/ 2605087 w 3095625"/>
              <a:gd name="connsiteY16" fmla="*/ 600075 h 695325"/>
              <a:gd name="connsiteX17" fmla="*/ 2847975 w 3095625"/>
              <a:gd name="connsiteY17" fmla="*/ 619125 h 695325"/>
              <a:gd name="connsiteX18" fmla="*/ 2976562 w 3095625"/>
              <a:gd name="connsiteY18" fmla="*/ 638175 h 695325"/>
              <a:gd name="connsiteX19" fmla="*/ 3095625 w 3095625"/>
              <a:gd name="connsiteY19" fmla="*/ 695325 h 695325"/>
              <a:gd name="connsiteX0" fmla="*/ 0 w 2976562"/>
              <a:gd name="connsiteY0" fmla="*/ 0 h 638175"/>
              <a:gd name="connsiteX1" fmla="*/ 190500 w 2976562"/>
              <a:gd name="connsiteY1" fmla="*/ 52387 h 638175"/>
              <a:gd name="connsiteX2" fmla="*/ 338137 w 2976562"/>
              <a:gd name="connsiteY2" fmla="*/ 57150 h 638175"/>
              <a:gd name="connsiteX3" fmla="*/ 695325 w 2976562"/>
              <a:gd name="connsiteY3" fmla="*/ 95250 h 638175"/>
              <a:gd name="connsiteX4" fmla="*/ 842962 w 2976562"/>
              <a:gd name="connsiteY4" fmla="*/ 95250 h 638175"/>
              <a:gd name="connsiteX5" fmla="*/ 990600 w 2976562"/>
              <a:gd name="connsiteY5" fmla="*/ 119062 h 638175"/>
              <a:gd name="connsiteX6" fmla="*/ 1071562 w 2976562"/>
              <a:gd name="connsiteY6" fmla="*/ 128587 h 638175"/>
              <a:gd name="connsiteX7" fmla="*/ 1157287 w 2976562"/>
              <a:gd name="connsiteY7" fmla="*/ 152400 h 638175"/>
              <a:gd name="connsiteX8" fmla="*/ 1247775 w 2976562"/>
              <a:gd name="connsiteY8" fmla="*/ 209550 h 638175"/>
              <a:gd name="connsiteX9" fmla="*/ 1466850 w 2976562"/>
              <a:gd name="connsiteY9" fmla="*/ 414337 h 638175"/>
              <a:gd name="connsiteX10" fmla="*/ 1590675 w 2976562"/>
              <a:gd name="connsiteY10" fmla="*/ 452438 h 638175"/>
              <a:gd name="connsiteX11" fmla="*/ 1847850 w 2976562"/>
              <a:gd name="connsiteY11" fmla="*/ 404812 h 638175"/>
              <a:gd name="connsiteX12" fmla="*/ 1995487 w 2976562"/>
              <a:gd name="connsiteY12" fmla="*/ 385762 h 638175"/>
              <a:gd name="connsiteX13" fmla="*/ 2205037 w 2976562"/>
              <a:gd name="connsiteY13" fmla="*/ 423862 h 638175"/>
              <a:gd name="connsiteX14" fmla="*/ 2371725 w 2976562"/>
              <a:gd name="connsiteY14" fmla="*/ 528637 h 638175"/>
              <a:gd name="connsiteX15" fmla="*/ 2476500 w 2976562"/>
              <a:gd name="connsiteY15" fmla="*/ 566737 h 638175"/>
              <a:gd name="connsiteX16" fmla="*/ 2605087 w 2976562"/>
              <a:gd name="connsiteY16" fmla="*/ 600075 h 638175"/>
              <a:gd name="connsiteX17" fmla="*/ 2847975 w 2976562"/>
              <a:gd name="connsiteY17" fmla="*/ 619125 h 638175"/>
              <a:gd name="connsiteX18" fmla="*/ 2976562 w 2976562"/>
              <a:gd name="connsiteY18" fmla="*/ 638175 h 638175"/>
              <a:gd name="connsiteX0" fmla="*/ 0 w 2847975"/>
              <a:gd name="connsiteY0" fmla="*/ 0 h 619125"/>
              <a:gd name="connsiteX1" fmla="*/ 190500 w 2847975"/>
              <a:gd name="connsiteY1" fmla="*/ 52387 h 619125"/>
              <a:gd name="connsiteX2" fmla="*/ 338137 w 2847975"/>
              <a:gd name="connsiteY2" fmla="*/ 57150 h 619125"/>
              <a:gd name="connsiteX3" fmla="*/ 695325 w 2847975"/>
              <a:gd name="connsiteY3" fmla="*/ 95250 h 619125"/>
              <a:gd name="connsiteX4" fmla="*/ 842962 w 2847975"/>
              <a:gd name="connsiteY4" fmla="*/ 95250 h 619125"/>
              <a:gd name="connsiteX5" fmla="*/ 990600 w 2847975"/>
              <a:gd name="connsiteY5" fmla="*/ 119062 h 619125"/>
              <a:gd name="connsiteX6" fmla="*/ 1071562 w 2847975"/>
              <a:gd name="connsiteY6" fmla="*/ 128587 h 619125"/>
              <a:gd name="connsiteX7" fmla="*/ 1157287 w 2847975"/>
              <a:gd name="connsiteY7" fmla="*/ 152400 h 619125"/>
              <a:gd name="connsiteX8" fmla="*/ 1247775 w 2847975"/>
              <a:gd name="connsiteY8" fmla="*/ 209550 h 619125"/>
              <a:gd name="connsiteX9" fmla="*/ 1466850 w 2847975"/>
              <a:gd name="connsiteY9" fmla="*/ 414337 h 619125"/>
              <a:gd name="connsiteX10" fmla="*/ 1590675 w 2847975"/>
              <a:gd name="connsiteY10" fmla="*/ 452438 h 619125"/>
              <a:gd name="connsiteX11" fmla="*/ 1847850 w 2847975"/>
              <a:gd name="connsiteY11" fmla="*/ 404812 h 619125"/>
              <a:gd name="connsiteX12" fmla="*/ 1995487 w 2847975"/>
              <a:gd name="connsiteY12" fmla="*/ 385762 h 619125"/>
              <a:gd name="connsiteX13" fmla="*/ 2205037 w 2847975"/>
              <a:gd name="connsiteY13" fmla="*/ 423862 h 619125"/>
              <a:gd name="connsiteX14" fmla="*/ 2371725 w 2847975"/>
              <a:gd name="connsiteY14" fmla="*/ 528637 h 619125"/>
              <a:gd name="connsiteX15" fmla="*/ 2476500 w 2847975"/>
              <a:gd name="connsiteY15" fmla="*/ 566737 h 619125"/>
              <a:gd name="connsiteX16" fmla="*/ 2605087 w 2847975"/>
              <a:gd name="connsiteY16" fmla="*/ 600075 h 619125"/>
              <a:gd name="connsiteX17" fmla="*/ 2847975 w 2847975"/>
              <a:gd name="connsiteY17" fmla="*/ 619125 h 619125"/>
              <a:gd name="connsiteX0" fmla="*/ 0 w 2605087"/>
              <a:gd name="connsiteY0" fmla="*/ 0 h 600075"/>
              <a:gd name="connsiteX1" fmla="*/ 190500 w 2605087"/>
              <a:gd name="connsiteY1" fmla="*/ 52387 h 600075"/>
              <a:gd name="connsiteX2" fmla="*/ 338137 w 2605087"/>
              <a:gd name="connsiteY2" fmla="*/ 57150 h 600075"/>
              <a:gd name="connsiteX3" fmla="*/ 695325 w 2605087"/>
              <a:gd name="connsiteY3" fmla="*/ 95250 h 600075"/>
              <a:gd name="connsiteX4" fmla="*/ 842962 w 2605087"/>
              <a:gd name="connsiteY4" fmla="*/ 95250 h 600075"/>
              <a:gd name="connsiteX5" fmla="*/ 990600 w 2605087"/>
              <a:gd name="connsiteY5" fmla="*/ 119062 h 600075"/>
              <a:gd name="connsiteX6" fmla="*/ 1071562 w 2605087"/>
              <a:gd name="connsiteY6" fmla="*/ 128587 h 600075"/>
              <a:gd name="connsiteX7" fmla="*/ 1157287 w 2605087"/>
              <a:gd name="connsiteY7" fmla="*/ 152400 h 600075"/>
              <a:gd name="connsiteX8" fmla="*/ 1247775 w 2605087"/>
              <a:gd name="connsiteY8" fmla="*/ 209550 h 600075"/>
              <a:gd name="connsiteX9" fmla="*/ 1466850 w 2605087"/>
              <a:gd name="connsiteY9" fmla="*/ 414337 h 600075"/>
              <a:gd name="connsiteX10" fmla="*/ 1590675 w 2605087"/>
              <a:gd name="connsiteY10" fmla="*/ 452438 h 600075"/>
              <a:gd name="connsiteX11" fmla="*/ 1847850 w 2605087"/>
              <a:gd name="connsiteY11" fmla="*/ 404812 h 600075"/>
              <a:gd name="connsiteX12" fmla="*/ 1995487 w 2605087"/>
              <a:gd name="connsiteY12" fmla="*/ 385762 h 600075"/>
              <a:gd name="connsiteX13" fmla="*/ 2205037 w 2605087"/>
              <a:gd name="connsiteY13" fmla="*/ 423862 h 600075"/>
              <a:gd name="connsiteX14" fmla="*/ 2371725 w 2605087"/>
              <a:gd name="connsiteY14" fmla="*/ 528637 h 600075"/>
              <a:gd name="connsiteX15" fmla="*/ 2476500 w 2605087"/>
              <a:gd name="connsiteY15" fmla="*/ 566737 h 600075"/>
              <a:gd name="connsiteX16" fmla="*/ 2605087 w 2605087"/>
              <a:gd name="connsiteY16" fmla="*/ 600075 h 600075"/>
              <a:gd name="connsiteX0" fmla="*/ 0 w 2476500"/>
              <a:gd name="connsiteY0" fmla="*/ 0 h 566737"/>
              <a:gd name="connsiteX1" fmla="*/ 190500 w 2476500"/>
              <a:gd name="connsiteY1" fmla="*/ 52387 h 566737"/>
              <a:gd name="connsiteX2" fmla="*/ 338137 w 2476500"/>
              <a:gd name="connsiteY2" fmla="*/ 57150 h 566737"/>
              <a:gd name="connsiteX3" fmla="*/ 695325 w 2476500"/>
              <a:gd name="connsiteY3" fmla="*/ 95250 h 566737"/>
              <a:gd name="connsiteX4" fmla="*/ 842962 w 2476500"/>
              <a:gd name="connsiteY4" fmla="*/ 95250 h 566737"/>
              <a:gd name="connsiteX5" fmla="*/ 990600 w 2476500"/>
              <a:gd name="connsiteY5" fmla="*/ 119062 h 566737"/>
              <a:gd name="connsiteX6" fmla="*/ 1071562 w 2476500"/>
              <a:gd name="connsiteY6" fmla="*/ 128587 h 566737"/>
              <a:gd name="connsiteX7" fmla="*/ 1157287 w 2476500"/>
              <a:gd name="connsiteY7" fmla="*/ 152400 h 566737"/>
              <a:gd name="connsiteX8" fmla="*/ 1247775 w 2476500"/>
              <a:gd name="connsiteY8" fmla="*/ 209550 h 566737"/>
              <a:gd name="connsiteX9" fmla="*/ 1466850 w 2476500"/>
              <a:gd name="connsiteY9" fmla="*/ 414337 h 566737"/>
              <a:gd name="connsiteX10" fmla="*/ 1590675 w 2476500"/>
              <a:gd name="connsiteY10" fmla="*/ 452438 h 566737"/>
              <a:gd name="connsiteX11" fmla="*/ 1847850 w 2476500"/>
              <a:gd name="connsiteY11" fmla="*/ 404812 h 566737"/>
              <a:gd name="connsiteX12" fmla="*/ 1995487 w 2476500"/>
              <a:gd name="connsiteY12" fmla="*/ 385762 h 566737"/>
              <a:gd name="connsiteX13" fmla="*/ 2205037 w 2476500"/>
              <a:gd name="connsiteY13" fmla="*/ 423862 h 566737"/>
              <a:gd name="connsiteX14" fmla="*/ 2371725 w 2476500"/>
              <a:gd name="connsiteY14" fmla="*/ 528637 h 566737"/>
              <a:gd name="connsiteX15" fmla="*/ 2476500 w 2476500"/>
              <a:gd name="connsiteY15" fmla="*/ 566737 h 566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476500" h="566737">
                <a:moveTo>
                  <a:pt x="0" y="0"/>
                </a:moveTo>
                <a:cubicBezTo>
                  <a:pt x="67072" y="21431"/>
                  <a:pt x="134144" y="42862"/>
                  <a:pt x="190500" y="52387"/>
                </a:cubicBezTo>
                <a:cubicBezTo>
                  <a:pt x="246856" y="61912"/>
                  <a:pt x="254000" y="50006"/>
                  <a:pt x="338137" y="57150"/>
                </a:cubicBezTo>
                <a:cubicBezTo>
                  <a:pt x="422275" y="64294"/>
                  <a:pt x="611188" y="88900"/>
                  <a:pt x="695325" y="95250"/>
                </a:cubicBezTo>
                <a:cubicBezTo>
                  <a:pt x="779462" y="101600"/>
                  <a:pt x="793750" y="91281"/>
                  <a:pt x="842962" y="95250"/>
                </a:cubicBezTo>
                <a:cubicBezTo>
                  <a:pt x="892174" y="99219"/>
                  <a:pt x="952500" y="113506"/>
                  <a:pt x="990600" y="119062"/>
                </a:cubicBezTo>
                <a:cubicBezTo>
                  <a:pt x="1028700" y="124618"/>
                  <a:pt x="1043781" y="123031"/>
                  <a:pt x="1071562" y="128587"/>
                </a:cubicBezTo>
                <a:cubicBezTo>
                  <a:pt x="1099343" y="134143"/>
                  <a:pt x="1127918" y="138906"/>
                  <a:pt x="1157287" y="152400"/>
                </a:cubicBezTo>
                <a:cubicBezTo>
                  <a:pt x="1186656" y="165894"/>
                  <a:pt x="1196181" y="165894"/>
                  <a:pt x="1247775" y="209550"/>
                </a:cubicBezTo>
                <a:cubicBezTo>
                  <a:pt x="1299369" y="253206"/>
                  <a:pt x="1409700" y="373856"/>
                  <a:pt x="1466850" y="414337"/>
                </a:cubicBezTo>
                <a:cubicBezTo>
                  <a:pt x="1524000" y="454818"/>
                  <a:pt x="1527175" y="454025"/>
                  <a:pt x="1590675" y="452438"/>
                </a:cubicBezTo>
                <a:cubicBezTo>
                  <a:pt x="1654175" y="450851"/>
                  <a:pt x="1780381" y="415925"/>
                  <a:pt x="1847850" y="404812"/>
                </a:cubicBezTo>
                <a:cubicBezTo>
                  <a:pt x="1915319" y="393699"/>
                  <a:pt x="1935956" y="382587"/>
                  <a:pt x="1995487" y="385762"/>
                </a:cubicBezTo>
                <a:cubicBezTo>
                  <a:pt x="2055018" y="388937"/>
                  <a:pt x="2142331" y="400050"/>
                  <a:pt x="2205037" y="423862"/>
                </a:cubicBezTo>
                <a:cubicBezTo>
                  <a:pt x="2267743" y="447674"/>
                  <a:pt x="2326481" y="504824"/>
                  <a:pt x="2371725" y="528637"/>
                </a:cubicBezTo>
                <a:cubicBezTo>
                  <a:pt x="2416969" y="552450"/>
                  <a:pt x="2437606" y="554831"/>
                  <a:pt x="2476500" y="566737"/>
                </a:cubicBezTo>
              </a:path>
            </a:pathLst>
          </a:custGeom>
          <a:noFill/>
          <a:ln w="508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050"/>
          </a:p>
        </p:txBody>
      </p:sp>
      <p:sp>
        <p:nvSpPr>
          <p:cNvPr id="111" name="Forma libre 110"/>
          <p:cNvSpPr/>
          <p:nvPr/>
        </p:nvSpPr>
        <p:spPr>
          <a:xfrm>
            <a:off x="7214552" y="2573797"/>
            <a:ext cx="1030605" cy="266765"/>
          </a:xfrm>
          <a:custGeom>
            <a:avLst/>
            <a:gdLst>
              <a:gd name="connsiteX0" fmla="*/ 0 w 1244600"/>
              <a:gd name="connsiteY0" fmla="*/ 0 h 358043"/>
              <a:gd name="connsiteX1" fmla="*/ 82550 w 1244600"/>
              <a:gd name="connsiteY1" fmla="*/ 19050 h 358043"/>
              <a:gd name="connsiteX2" fmla="*/ 203200 w 1244600"/>
              <a:gd name="connsiteY2" fmla="*/ 25400 h 358043"/>
              <a:gd name="connsiteX3" fmla="*/ 374650 w 1244600"/>
              <a:gd name="connsiteY3" fmla="*/ 38100 h 358043"/>
              <a:gd name="connsiteX4" fmla="*/ 482600 w 1244600"/>
              <a:gd name="connsiteY4" fmla="*/ 50800 h 358043"/>
              <a:gd name="connsiteX5" fmla="*/ 635000 w 1244600"/>
              <a:gd name="connsiteY5" fmla="*/ 146050 h 358043"/>
              <a:gd name="connsiteX6" fmla="*/ 755650 w 1244600"/>
              <a:gd name="connsiteY6" fmla="*/ 228600 h 358043"/>
              <a:gd name="connsiteX7" fmla="*/ 914400 w 1244600"/>
              <a:gd name="connsiteY7" fmla="*/ 330200 h 358043"/>
              <a:gd name="connsiteX8" fmla="*/ 1111250 w 1244600"/>
              <a:gd name="connsiteY8" fmla="*/ 355600 h 358043"/>
              <a:gd name="connsiteX9" fmla="*/ 1244600 w 1244600"/>
              <a:gd name="connsiteY9" fmla="*/ 355600 h 358043"/>
              <a:gd name="connsiteX0" fmla="*/ 0 w 1374140"/>
              <a:gd name="connsiteY0" fmla="*/ 0 h 355687"/>
              <a:gd name="connsiteX1" fmla="*/ 82550 w 1374140"/>
              <a:gd name="connsiteY1" fmla="*/ 19050 h 355687"/>
              <a:gd name="connsiteX2" fmla="*/ 203200 w 1374140"/>
              <a:gd name="connsiteY2" fmla="*/ 25400 h 355687"/>
              <a:gd name="connsiteX3" fmla="*/ 374650 w 1374140"/>
              <a:gd name="connsiteY3" fmla="*/ 38100 h 355687"/>
              <a:gd name="connsiteX4" fmla="*/ 482600 w 1374140"/>
              <a:gd name="connsiteY4" fmla="*/ 50800 h 355687"/>
              <a:gd name="connsiteX5" fmla="*/ 635000 w 1374140"/>
              <a:gd name="connsiteY5" fmla="*/ 146050 h 355687"/>
              <a:gd name="connsiteX6" fmla="*/ 755650 w 1374140"/>
              <a:gd name="connsiteY6" fmla="*/ 228600 h 355687"/>
              <a:gd name="connsiteX7" fmla="*/ 914400 w 1374140"/>
              <a:gd name="connsiteY7" fmla="*/ 330200 h 355687"/>
              <a:gd name="connsiteX8" fmla="*/ 1111250 w 1374140"/>
              <a:gd name="connsiteY8" fmla="*/ 355600 h 355687"/>
              <a:gd name="connsiteX9" fmla="*/ 1374140 w 1374140"/>
              <a:gd name="connsiteY9" fmla="*/ 325120 h 355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74140" h="355687">
                <a:moveTo>
                  <a:pt x="0" y="0"/>
                </a:moveTo>
                <a:cubicBezTo>
                  <a:pt x="24341" y="7408"/>
                  <a:pt x="48683" y="14817"/>
                  <a:pt x="82550" y="19050"/>
                </a:cubicBezTo>
                <a:cubicBezTo>
                  <a:pt x="116417" y="23283"/>
                  <a:pt x="203200" y="25400"/>
                  <a:pt x="203200" y="25400"/>
                </a:cubicBezTo>
                <a:lnTo>
                  <a:pt x="374650" y="38100"/>
                </a:lnTo>
                <a:cubicBezTo>
                  <a:pt x="421217" y="42333"/>
                  <a:pt x="439208" y="32808"/>
                  <a:pt x="482600" y="50800"/>
                </a:cubicBezTo>
                <a:cubicBezTo>
                  <a:pt x="525992" y="68792"/>
                  <a:pt x="589492" y="116417"/>
                  <a:pt x="635000" y="146050"/>
                </a:cubicBezTo>
                <a:cubicBezTo>
                  <a:pt x="680508" y="175683"/>
                  <a:pt x="709083" y="197908"/>
                  <a:pt x="755650" y="228600"/>
                </a:cubicBezTo>
                <a:cubicBezTo>
                  <a:pt x="802217" y="259292"/>
                  <a:pt x="855133" y="309033"/>
                  <a:pt x="914400" y="330200"/>
                </a:cubicBezTo>
                <a:cubicBezTo>
                  <a:pt x="973667" y="351367"/>
                  <a:pt x="1034627" y="356447"/>
                  <a:pt x="1111250" y="355600"/>
                </a:cubicBezTo>
                <a:cubicBezTo>
                  <a:pt x="1187873" y="354753"/>
                  <a:pt x="1334981" y="327236"/>
                  <a:pt x="1374140" y="325120"/>
                </a:cubicBezTo>
              </a:path>
            </a:pathLst>
          </a:custGeom>
          <a:noFill/>
          <a:ln w="508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050"/>
          </a:p>
        </p:txBody>
      </p:sp>
      <p:sp>
        <p:nvSpPr>
          <p:cNvPr id="95" name="CuadroTexto 94"/>
          <p:cNvSpPr txBox="1"/>
          <p:nvPr/>
        </p:nvSpPr>
        <p:spPr>
          <a:xfrm rot="17014220">
            <a:off x="6563569" y="2875863"/>
            <a:ext cx="110160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050" dirty="0"/>
              <a:t>Av. Américas</a:t>
            </a:r>
          </a:p>
        </p:txBody>
      </p:sp>
      <p:sp>
        <p:nvSpPr>
          <p:cNvPr id="87" name="Elipse 86"/>
          <p:cNvSpPr/>
          <p:nvPr/>
        </p:nvSpPr>
        <p:spPr>
          <a:xfrm>
            <a:off x="5212084" y="1933983"/>
            <a:ext cx="199159" cy="169421"/>
          </a:xfrm>
          <a:prstGeom prst="ellipse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050"/>
          </a:p>
        </p:txBody>
      </p:sp>
      <p:grpSp>
        <p:nvGrpSpPr>
          <p:cNvPr id="20" name="Grupo 19"/>
          <p:cNvGrpSpPr/>
          <p:nvPr/>
        </p:nvGrpSpPr>
        <p:grpSpPr>
          <a:xfrm>
            <a:off x="2264973" y="3073889"/>
            <a:ext cx="1346468" cy="1491865"/>
            <a:chOff x="3019964" y="4098515"/>
            <a:chExt cx="1795290" cy="1989153"/>
          </a:xfrm>
        </p:grpSpPr>
        <p:pic>
          <p:nvPicPr>
            <p:cNvPr id="101" name="Imagen 100"/>
            <p:cNvPicPr>
              <a:picLocks noChangeAspect="1"/>
            </p:cNvPicPr>
            <p:nvPr/>
          </p:nvPicPr>
          <p:blipFill rotWithShape="1">
            <a:blip r:embed="rId4"/>
            <a:srcRect t="2647" r="23038" b="85943"/>
            <a:stretch/>
          </p:blipFill>
          <p:spPr>
            <a:xfrm>
              <a:off x="3019964" y="5028405"/>
              <a:ext cx="1795290" cy="1041137"/>
            </a:xfrm>
            <a:prstGeom prst="rect">
              <a:avLst/>
            </a:prstGeom>
          </p:spPr>
        </p:pic>
        <p:sp>
          <p:nvSpPr>
            <p:cNvPr id="99" name="CuadroTexto 10"/>
            <p:cNvSpPr txBox="1"/>
            <p:nvPr/>
          </p:nvSpPr>
          <p:spPr>
            <a:xfrm>
              <a:off x="3067071" y="5102783"/>
              <a:ext cx="1701078" cy="984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767">
                <a:defRPr/>
              </a:pPr>
              <a:r>
                <a:rPr lang="es-CO" sz="1050" b="1" dirty="0">
                  <a:solidFill>
                    <a:schemeClr val="bg1"/>
                  </a:solidFill>
                </a:rPr>
                <a:t>UF0</a:t>
              </a:r>
            </a:p>
            <a:p>
              <a:pPr algn="ctr" defTabSz="685767">
                <a:defRPr/>
              </a:pPr>
              <a:r>
                <a:rPr lang="es-CO" sz="1050" dirty="0">
                  <a:solidFill>
                    <a:schemeClr val="bg1"/>
                  </a:solidFill>
                </a:rPr>
                <a:t>Chusacá – Canoas</a:t>
              </a:r>
            </a:p>
            <a:p>
              <a:pPr algn="ctr" defTabSz="685767">
                <a:defRPr/>
              </a:pPr>
              <a:r>
                <a:rPr lang="es-CO" sz="1050" dirty="0">
                  <a:solidFill>
                    <a:schemeClr val="bg1"/>
                  </a:solidFill>
                </a:rPr>
                <a:t>4,5 Km</a:t>
              </a:r>
            </a:p>
          </p:txBody>
        </p:sp>
        <p:cxnSp>
          <p:nvCxnSpPr>
            <p:cNvPr id="127" name="Conector recto de flecha 126"/>
            <p:cNvCxnSpPr>
              <a:stCxn id="101" idx="0"/>
            </p:cNvCxnSpPr>
            <p:nvPr/>
          </p:nvCxnSpPr>
          <p:spPr>
            <a:xfrm flipH="1" flipV="1">
              <a:off x="3365147" y="4098515"/>
              <a:ext cx="552462" cy="929890"/>
            </a:xfrm>
            <a:prstGeom prst="straightConnector1">
              <a:avLst/>
            </a:prstGeom>
            <a:ln w="38100">
              <a:solidFill>
                <a:schemeClr val="bg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Grupo 20"/>
          <p:cNvGrpSpPr/>
          <p:nvPr/>
        </p:nvGrpSpPr>
        <p:grpSpPr>
          <a:xfrm>
            <a:off x="3365234" y="1736548"/>
            <a:ext cx="1509890" cy="1662545"/>
            <a:chOff x="4486979" y="2315398"/>
            <a:chExt cx="2013186" cy="2216727"/>
          </a:xfrm>
        </p:grpSpPr>
        <p:pic>
          <p:nvPicPr>
            <p:cNvPr id="102" name="Imagen 101"/>
            <p:cNvPicPr>
              <a:picLocks noChangeAspect="1"/>
            </p:cNvPicPr>
            <p:nvPr/>
          </p:nvPicPr>
          <p:blipFill rotWithShape="1">
            <a:blip r:embed="rId4"/>
            <a:srcRect t="2647" r="23038" b="85943"/>
            <a:stretch/>
          </p:blipFill>
          <p:spPr>
            <a:xfrm>
              <a:off x="4486979" y="3490988"/>
              <a:ext cx="2013186" cy="1041137"/>
            </a:xfrm>
            <a:prstGeom prst="rect">
              <a:avLst/>
            </a:prstGeom>
          </p:spPr>
        </p:pic>
        <p:sp>
          <p:nvSpPr>
            <p:cNvPr id="103" name="CuadroTexto 10"/>
            <p:cNvSpPr txBox="1"/>
            <p:nvPr/>
          </p:nvSpPr>
          <p:spPr>
            <a:xfrm>
              <a:off x="4534084" y="3565366"/>
              <a:ext cx="1966081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767">
                <a:defRPr/>
              </a:pPr>
              <a:r>
                <a:rPr lang="es-CO" sz="1050" b="1" dirty="0">
                  <a:solidFill>
                    <a:schemeClr val="bg1"/>
                  </a:solidFill>
                </a:rPr>
                <a:t>UF1</a:t>
              </a:r>
            </a:p>
            <a:p>
              <a:pPr algn="ctr" defTabSz="685767">
                <a:defRPr/>
              </a:pPr>
              <a:r>
                <a:rPr lang="es-CO" sz="1050" dirty="0">
                  <a:solidFill>
                    <a:schemeClr val="bg1"/>
                  </a:solidFill>
                </a:rPr>
                <a:t>Canoas – Río Bogotá</a:t>
              </a:r>
            </a:p>
            <a:p>
              <a:pPr algn="ctr" defTabSz="685767">
                <a:defRPr/>
              </a:pPr>
              <a:r>
                <a:rPr lang="es-CO" sz="1050" dirty="0">
                  <a:solidFill>
                    <a:schemeClr val="bg1"/>
                  </a:solidFill>
                </a:rPr>
                <a:t>9,5 Km</a:t>
              </a:r>
            </a:p>
          </p:txBody>
        </p:sp>
        <p:cxnSp>
          <p:nvCxnSpPr>
            <p:cNvPr id="128" name="Conector recto de flecha 127"/>
            <p:cNvCxnSpPr/>
            <p:nvPr/>
          </p:nvCxnSpPr>
          <p:spPr>
            <a:xfrm flipH="1" flipV="1">
              <a:off x="5212094" y="2315398"/>
              <a:ext cx="366785" cy="1175590"/>
            </a:xfrm>
            <a:prstGeom prst="straightConnector1">
              <a:avLst/>
            </a:prstGeom>
            <a:ln w="38100">
              <a:solidFill>
                <a:schemeClr val="bg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upo 21"/>
          <p:cNvGrpSpPr/>
          <p:nvPr/>
        </p:nvGrpSpPr>
        <p:grpSpPr>
          <a:xfrm>
            <a:off x="5122496" y="2386012"/>
            <a:ext cx="1867586" cy="2166144"/>
            <a:chOff x="6829995" y="3181349"/>
            <a:chExt cx="2490114" cy="2888192"/>
          </a:xfrm>
        </p:grpSpPr>
        <p:pic>
          <p:nvPicPr>
            <p:cNvPr id="104" name="Imagen 103"/>
            <p:cNvPicPr>
              <a:picLocks noChangeAspect="1"/>
            </p:cNvPicPr>
            <p:nvPr/>
          </p:nvPicPr>
          <p:blipFill rotWithShape="1">
            <a:blip r:embed="rId4"/>
            <a:srcRect t="2647" r="23038" b="85943"/>
            <a:stretch/>
          </p:blipFill>
          <p:spPr>
            <a:xfrm>
              <a:off x="6886437" y="5028404"/>
              <a:ext cx="2433672" cy="1041137"/>
            </a:xfrm>
            <a:prstGeom prst="rect">
              <a:avLst/>
            </a:prstGeom>
          </p:spPr>
        </p:pic>
        <p:sp>
          <p:nvSpPr>
            <p:cNvPr id="105" name="CuadroTexto 10"/>
            <p:cNvSpPr txBox="1"/>
            <p:nvPr/>
          </p:nvSpPr>
          <p:spPr>
            <a:xfrm>
              <a:off x="6829995" y="5155218"/>
              <a:ext cx="2480778" cy="8207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767">
                <a:defRPr/>
              </a:pPr>
              <a:r>
                <a:rPr lang="es-CO" sz="1050" b="1" dirty="0">
                  <a:solidFill>
                    <a:schemeClr val="bg1"/>
                  </a:solidFill>
                </a:rPr>
                <a:t>UF2</a:t>
              </a:r>
            </a:p>
            <a:p>
              <a:pPr algn="ctr" defTabSz="685767">
                <a:defRPr/>
              </a:pPr>
              <a:r>
                <a:rPr lang="es-CO" sz="1050" dirty="0">
                  <a:solidFill>
                    <a:schemeClr val="bg1"/>
                  </a:solidFill>
                </a:rPr>
                <a:t>Río Bogotá – Av. Américas</a:t>
              </a:r>
            </a:p>
            <a:p>
              <a:pPr algn="ctr" defTabSz="685767">
                <a:defRPr/>
              </a:pPr>
              <a:r>
                <a:rPr lang="es-CO" sz="1200" dirty="0">
                  <a:solidFill>
                    <a:schemeClr val="bg1"/>
                  </a:solidFill>
                </a:rPr>
                <a:t>6,1 Km</a:t>
              </a:r>
            </a:p>
          </p:txBody>
        </p:sp>
        <p:cxnSp>
          <p:nvCxnSpPr>
            <p:cNvPr id="129" name="Conector recto de flecha 128"/>
            <p:cNvCxnSpPr>
              <a:endCxn id="6" idx="9"/>
            </p:cNvCxnSpPr>
            <p:nvPr/>
          </p:nvCxnSpPr>
          <p:spPr>
            <a:xfrm flipV="1">
              <a:off x="8264566" y="3181349"/>
              <a:ext cx="350795" cy="1877944"/>
            </a:xfrm>
            <a:prstGeom prst="straightConnector1">
              <a:avLst/>
            </a:prstGeom>
            <a:ln w="38100">
              <a:solidFill>
                <a:schemeClr val="bg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Grupo 22"/>
          <p:cNvGrpSpPr/>
          <p:nvPr/>
        </p:nvGrpSpPr>
        <p:grpSpPr>
          <a:xfrm>
            <a:off x="7193343" y="2619375"/>
            <a:ext cx="1867586" cy="1932781"/>
            <a:chOff x="9591124" y="3492500"/>
            <a:chExt cx="2490114" cy="2577041"/>
          </a:xfrm>
        </p:grpSpPr>
        <p:pic>
          <p:nvPicPr>
            <p:cNvPr id="106" name="Imagen 105"/>
            <p:cNvPicPr>
              <a:picLocks noChangeAspect="1"/>
            </p:cNvPicPr>
            <p:nvPr/>
          </p:nvPicPr>
          <p:blipFill rotWithShape="1">
            <a:blip r:embed="rId4"/>
            <a:srcRect t="2647" r="23038" b="85943"/>
            <a:stretch/>
          </p:blipFill>
          <p:spPr>
            <a:xfrm>
              <a:off x="9647566" y="5028404"/>
              <a:ext cx="2433672" cy="1041137"/>
            </a:xfrm>
            <a:prstGeom prst="rect">
              <a:avLst/>
            </a:prstGeom>
          </p:spPr>
        </p:pic>
        <p:sp>
          <p:nvSpPr>
            <p:cNvPr id="107" name="CuadroTexto 10"/>
            <p:cNvSpPr txBox="1"/>
            <p:nvPr/>
          </p:nvSpPr>
          <p:spPr>
            <a:xfrm>
              <a:off x="9591124" y="5155218"/>
              <a:ext cx="2480778" cy="861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767">
                <a:defRPr/>
              </a:pPr>
              <a:r>
                <a:rPr lang="es-CO" sz="1200" b="1" dirty="0">
                  <a:solidFill>
                    <a:schemeClr val="bg1"/>
                  </a:solidFill>
                </a:rPr>
                <a:t>UF3</a:t>
              </a:r>
            </a:p>
            <a:p>
              <a:pPr algn="ctr" defTabSz="685767">
                <a:defRPr/>
              </a:pPr>
              <a:r>
                <a:rPr lang="es-CO" sz="1200" dirty="0">
                  <a:solidFill>
                    <a:schemeClr val="bg1"/>
                  </a:solidFill>
                </a:rPr>
                <a:t>Av. Américas – Calle 13</a:t>
              </a:r>
            </a:p>
            <a:p>
              <a:pPr algn="ctr" defTabSz="685767">
                <a:defRPr/>
              </a:pPr>
              <a:r>
                <a:rPr lang="es-CO" sz="1200" dirty="0">
                  <a:solidFill>
                    <a:schemeClr val="bg1"/>
                  </a:solidFill>
                </a:rPr>
                <a:t>3,9 Km</a:t>
              </a:r>
            </a:p>
          </p:txBody>
        </p:sp>
        <p:cxnSp>
          <p:nvCxnSpPr>
            <p:cNvPr id="130" name="Conector recto de flecha 129"/>
            <p:cNvCxnSpPr>
              <a:endCxn id="7" idx="5"/>
            </p:cNvCxnSpPr>
            <p:nvPr/>
          </p:nvCxnSpPr>
          <p:spPr>
            <a:xfrm flipH="1" flipV="1">
              <a:off x="10267950" y="3492500"/>
              <a:ext cx="532728" cy="1595311"/>
            </a:xfrm>
            <a:prstGeom prst="straightConnector1">
              <a:avLst/>
            </a:prstGeom>
            <a:ln w="38100">
              <a:solidFill>
                <a:schemeClr val="bg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upo 24"/>
          <p:cNvGrpSpPr/>
          <p:nvPr/>
        </p:nvGrpSpPr>
        <p:grpSpPr>
          <a:xfrm>
            <a:off x="1804315" y="665078"/>
            <a:ext cx="1780064" cy="1106556"/>
            <a:chOff x="2405754" y="886770"/>
            <a:chExt cx="2373418" cy="1475408"/>
          </a:xfrm>
        </p:grpSpPr>
        <p:pic>
          <p:nvPicPr>
            <p:cNvPr id="112" name="Imagen 111"/>
            <p:cNvPicPr>
              <a:picLocks noChangeAspect="1"/>
            </p:cNvPicPr>
            <p:nvPr/>
          </p:nvPicPr>
          <p:blipFill rotWithShape="1">
            <a:blip r:embed="rId4"/>
            <a:srcRect t="2647" r="23038" b="85943"/>
            <a:stretch/>
          </p:blipFill>
          <p:spPr>
            <a:xfrm>
              <a:off x="2476051" y="886770"/>
              <a:ext cx="2157641" cy="1041253"/>
            </a:xfrm>
            <a:prstGeom prst="rect">
              <a:avLst/>
            </a:prstGeom>
          </p:spPr>
        </p:pic>
        <p:sp>
          <p:nvSpPr>
            <p:cNvPr id="113" name="CuadroTexto 10"/>
            <p:cNvSpPr txBox="1"/>
            <p:nvPr/>
          </p:nvSpPr>
          <p:spPr>
            <a:xfrm>
              <a:off x="2405754" y="985874"/>
              <a:ext cx="2373418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767">
                <a:defRPr/>
              </a:pPr>
              <a:r>
                <a:rPr lang="es-CO" sz="1050" b="1" dirty="0">
                  <a:solidFill>
                    <a:schemeClr val="bg1"/>
                  </a:solidFill>
                </a:rPr>
                <a:t>UF5</a:t>
              </a:r>
            </a:p>
            <a:p>
              <a:pPr algn="ctr" defTabSz="685767">
                <a:defRPr/>
              </a:pPr>
              <a:r>
                <a:rPr lang="es-CO" sz="1050" dirty="0">
                  <a:solidFill>
                    <a:schemeClr val="bg1"/>
                  </a:solidFill>
                </a:rPr>
                <a:t>Río Bogotá – Canoas</a:t>
              </a:r>
            </a:p>
            <a:p>
              <a:pPr algn="ctr" defTabSz="685767">
                <a:defRPr/>
              </a:pPr>
              <a:r>
                <a:rPr lang="es-CO" sz="1050" dirty="0">
                  <a:solidFill>
                    <a:schemeClr val="bg1"/>
                  </a:solidFill>
                </a:rPr>
                <a:t>9,5 Km</a:t>
              </a:r>
            </a:p>
          </p:txBody>
        </p:sp>
        <p:cxnSp>
          <p:nvCxnSpPr>
            <p:cNvPr id="132" name="Conector recto de flecha 131"/>
            <p:cNvCxnSpPr/>
            <p:nvPr/>
          </p:nvCxnSpPr>
          <p:spPr>
            <a:xfrm>
              <a:off x="3974616" y="1912322"/>
              <a:ext cx="793533" cy="449856"/>
            </a:xfrm>
            <a:prstGeom prst="straightConnector1">
              <a:avLst/>
            </a:prstGeom>
            <a:ln w="38100">
              <a:solidFill>
                <a:schemeClr val="bg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o 25"/>
          <p:cNvGrpSpPr/>
          <p:nvPr/>
        </p:nvGrpSpPr>
        <p:grpSpPr>
          <a:xfrm>
            <a:off x="20547" y="2243707"/>
            <a:ext cx="2359451" cy="900246"/>
            <a:chOff x="27396" y="2991609"/>
            <a:chExt cx="3145934" cy="1200328"/>
          </a:xfrm>
        </p:grpSpPr>
        <p:pic>
          <p:nvPicPr>
            <p:cNvPr id="125" name="Imagen 124"/>
            <p:cNvPicPr>
              <a:picLocks noChangeAspect="1"/>
            </p:cNvPicPr>
            <p:nvPr/>
          </p:nvPicPr>
          <p:blipFill rotWithShape="1">
            <a:blip r:embed="rId4"/>
            <a:srcRect t="2647" r="23038" b="85943"/>
            <a:stretch/>
          </p:blipFill>
          <p:spPr>
            <a:xfrm>
              <a:off x="27396" y="2991609"/>
              <a:ext cx="1795290" cy="1041137"/>
            </a:xfrm>
            <a:prstGeom prst="rect">
              <a:avLst/>
            </a:prstGeom>
          </p:spPr>
        </p:pic>
        <p:sp>
          <p:nvSpPr>
            <p:cNvPr id="126" name="CuadroTexto 10"/>
            <p:cNvSpPr txBox="1"/>
            <p:nvPr/>
          </p:nvSpPr>
          <p:spPr>
            <a:xfrm>
              <a:off x="74503" y="3065988"/>
              <a:ext cx="1701078" cy="984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767">
                <a:defRPr/>
              </a:pPr>
              <a:r>
                <a:rPr lang="es-CO" sz="1050" b="1" dirty="0">
                  <a:solidFill>
                    <a:schemeClr val="bg1"/>
                  </a:solidFill>
                </a:rPr>
                <a:t>UF6</a:t>
              </a:r>
            </a:p>
            <a:p>
              <a:pPr algn="ctr" defTabSz="685767">
                <a:defRPr/>
              </a:pPr>
              <a:r>
                <a:rPr lang="es-CO" sz="1050" dirty="0">
                  <a:solidFill>
                    <a:schemeClr val="bg1"/>
                  </a:solidFill>
                </a:rPr>
                <a:t>Chusacá – Canoas</a:t>
              </a:r>
            </a:p>
            <a:p>
              <a:pPr algn="ctr" defTabSz="685767">
                <a:defRPr/>
              </a:pPr>
              <a:r>
                <a:rPr lang="es-CO" sz="1050" dirty="0">
                  <a:solidFill>
                    <a:schemeClr val="bg1"/>
                  </a:solidFill>
                </a:rPr>
                <a:t>4,5 Km</a:t>
              </a:r>
            </a:p>
          </p:txBody>
        </p:sp>
        <p:cxnSp>
          <p:nvCxnSpPr>
            <p:cNvPr id="133" name="Conector recto de flecha 132"/>
            <p:cNvCxnSpPr/>
            <p:nvPr/>
          </p:nvCxnSpPr>
          <p:spPr>
            <a:xfrm>
              <a:off x="1808831" y="3498323"/>
              <a:ext cx="1364499" cy="693614"/>
            </a:xfrm>
            <a:prstGeom prst="straightConnector1">
              <a:avLst/>
            </a:prstGeom>
            <a:ln w="38100">
              <a:solidFill>
                <a:schemeClr val="bg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upo 23"/>
          <p:cNvGrpSpPr/>
          <p:nvPr/>
        </p:nvGrpSpPr>
        <p:grpSpPr>
          <a:xfrm>
            <a:off x="6586459" y="913775"/>
            <a:ext cx="1780064" cy="1679072"/>
            <a:chOff x="8781945" y="1218367"/>
            <a:chExt cx="2373418" cy="2238762"/>
          </a:xfrm>
        </p:grpSpPr>
        <p:pic>
          <p:nvPicPr>
            <p:cNvPr id="108" name="Imagen 107"/>
            <p:cNvPicPr>
              <a:picLocks noChangeAspect="1"/>
            </p:cNvPicPr>
            <p:nvPr/>
          </p:nvPicPr>
          <p:blipFill rotWithShape="1">
            <a:blip r:embed="rId4"/>
            <a:srcRect t="2647" r="23038" b="85943"/>
            <a:stretch/>
          </p:blipFill>
          <p:spPr>
            <a:xfrm>
              <a:off x="8852242" y="1218367"/>
              <a:ext cx="2157641" cy="1253546"/>
            </a:xfrm>
            <a:prstGeom prst="rect">
              <a:avLst/>
            </a:prstGeom>
          </p:spPr>
        </p:pic>
        <p:sp>
          <p:nvSpPr>
            <p:cNvPr id="109" name="CuadroTexto 10"/>
            <p:cNvSpPr txBox="1"/>
            <p:nvPr/>
          </p:nvSpPr>
          <p:spPr>
            <a:xfrm>
              <a:off x="8781945" y="1317471"/>
              <a:ext cx="2373418" cy="10259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767">
                <a:defRPr/>
              </a:pPr>
              <a:r>
                <a:rPr lang="es-CO" sz="1100" b="1" dirty="0">
                  <a:solidFill>
                    <a:schemeClr val="bg1"/>
                  </a:solidFill>
                </a:rPr>
                <a:t>UF4</a:t>
              </a:r>
            </a:p>
            <a:p>
              <a:pPr algn="ctr" defTabSz="685767">
                <a:defRPr/>
              </a:pPr>
              <a:r>
                <a:rPr lang="es-CO" sz="1100" dirty="0">
                  <a:solidFill>
                    <a:schemeClr val="bg1"/>
                  </a:solidFill>
                </a:rPr>
                <a:t>Río Bogotá – Calle 13</a:t>
              </a:r>
            </a:p>
            <a:p>
              <a:pPr algn="ctr" defTabSz="685767">
                <a:defRPr/>
              </a:pPr>
              <a:r>
                <a:rPr lang="es-CO" sz="1100" dirty="0">
                  <a:solidFill>
                    <a:schemeClr val="bg1"/>
                  </a:solidFill>
                </a:rPr>
                <a:t>Calzada:     10,0 Km</a:t>
              </a:r>
            </a:p>
            <a:p>
              <a:pPr algn="ctr" defTabSz="685767">
                <a:defRPr/>
              </a:pPr>
              <a:r>
                <a:rPr lang="es-CO" sz="1100" dirty="0">
                  <a:solidFill>
                    <a:schemeClr val="bg1"/>
                  </a:solidFill>
                </a:rPr>
                <a:t>Alameda:      9,5 Km</a:t>
              </a:r>
            </a:p>
          </p:txBody>
        </p:sp>
        <p:cxnSp>
          <p:nvCxnSpPr>
            <p:cNvPr id="131" name="Conector recto de flecha 130"/>
            <p:cNvCxnSpPr/>
            <p:nvPr/>
          </p:nvCxnSpPr>
          <p:spPr>
            <a:xfrm flipH="1">
              <a:off x="9215349" y="2444203"/>
              <a:ext cx="729569" cy="606178"/>
            </a:xfrm>
            <a:prstGeom prst="straightConnector1">
              <a:avLst/>
            </a:prstGeom>
            <a:ln w="38100">
              <a:solidFill>
                <a:schemeClr val="bg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Conector recto de flecha 134"/>
            <p:cNvCxnSpPr>
              <a:stCxn id="108" idx="2"/>
              <a:endCxn id="111" idx="2"/>
            </p:cNvCxnSpPr>
            <p:nvPr/>
          </p:nvCxnSpPr>
          <p:spPr>
            <a:xfrm flipH="1">
              <a:off x="9822603" y="2471913"/>
              <a:ext cx="108460" cy="985216"/>
            </a:xfrm>
            <a:prstGeom prst="straightConnector1">
              <a:avLst/>
            </a:prstGeom>
            <a:ln w="38100">
              <a:solidFill>
                <a:schemeClr val="bg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Elipse 1"/>
          <p:cNvSpPr/>
          <p:nvPr/>
        </p:nvSpPr>
        <p:spPr>
          <a:xfrm>
            <a:off x="8104267" y="2624883"/>
            <a:ext cx="253028" cy="21643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050"/>
          </a:p>
        </p:txBody>
      </p:sp>
      <p:pic>
        <p:nvPicPr>
          <p:cNvPr id="199" name="Imagen 19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21660000">
            <a:off x="5575262" y="1993976"/>
            <a:ext cx="227610" cy="217024"/>
          </a:xfrm>
          <a:prstGeom prst="rect">
            <a:avLst/>
          </a:prstGeom>
        </p:spPr>
      </p:pic>
      <p:grpSp>
        <p:nvGrpSpPr>
          <p:cNvPr id="200" name="Grupo 199"/>
          <p:cNvGrpSpPr/>
          <p:nvPr/>
        </p:nvGrpSpPr>
        <p:grpSpPr>
          <a:xfrm>
            <a:off x="5315626" y="2149521"/>
            <a:ext cx="328792" cy="750145"/>
            <a:chOff x="7087492" y="2866029"/>
            <a:chExt cx="438388" cy="1000193"/>
          </a:xfrm>
        </p:grpSpPr>
        <p:pic>
          <p:nvPicPr>
            <p:cNvPr id="201" name="Imagen 200"/>
            <p:cNvPicPr>
              <a:picLocks noChangeAspect="1"/>
            </p:cNvPicPr>
            <p:nvPr/>
          </p:nvPicPr>
          <p:blipFill rotWithShape="1">
            <a:blip r:embed="rId4"/>
            <a:srcRect t="2647" r="23038" b="85943"/>
            <a:stretch/>
          </p:blipFill>
          <p:spPr>
            <a:xfrm rot="17552246">
              <a:off x="6874538" y="3214880"/>
              <a:ext cx="912482" cy="390202"/>
            </a:xfrm>
            <a:prstGeom prst="rect">
              <a:avLst/>
            </a:prstGeom>
          </p:spPr>
        </p:pic>
        <p:sp>
          <p:nvSpPr>
            <p:cNvPr id="202" name="CuadroTexto 201"/>
            <p:cNvSpPr txBox="1"/>
            <p:nvPr/>
          </p:nvSpPr>
          <p:spPr>
            <a:xfrm rot="17588144">
              <a:off x="6812154" y="3141367"/>
              <a:ext cx="981561" cy="430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500" b="1" dirty="0">
                  <a:solidFill>
                    <a:schemeClr val="bg1"/>
                  </a:solidFill>
                  <a:latin typeface="Gotham Rounded Medium" panose="02000000000000000000" pitchFamily="50" charset="0"/>
                </a:rPr>
                <a:t>Peaje</a:t>
              </a:r>
            </a:p>
          </p:txBody>
        </p:sp>
      </p:grpSp>
      <p:sp>
        <p:nvSpPr>
          <p:cNvPr id="137" name="Rectangle 8">
            <a:extLst>
              <a:ext uri="{FF2B5EF4-FFF2-40B4-BE49-F238E27FC236}">
                <a16:creationId xmlns:a16="http://schemas.microsoft.com/office/drawing/2014/main" id="{AD5A8B9D-37E9-4240-BD5E-5BF0EFAF5444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993797" y="10326"/>
            <a:ext cx="6503633" cy="64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algn="ctr">
              <a:lnSpc>
                <a:spcPct val="90000"/>
              </a:lnSpc>
              <a:buClr>
                <a:srgbClr val="0054BC"/>
              </a:buClr>
              <a:buSzPts val="1400"/>
              <a:buFont typeface="Work Sans SemiBold"/>
              <a:buNone/>
              <a:defRPr sz="3000">
                <a:solidFill>
                  <a:srgbClr val="0054BC"/>
                </a:solidFill>
                <a:latin typeface="Calibri" panose="020F0502020204030204" pitchFamily="34" charset="0"/>
                <a:ea typeface="Work Sans Light"/>
                <a:cs typeface="Calibri" panose="020F0502020204030204" pitchFamily="34" charset="0"/>
                <a:sym typeface="Work Sans Light"/>
              </a:defRPr>
            </a:lvl1pPr>
            <a:lvl2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2pPr>
            <a:lvl3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3pPr>
            <a:lvl4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4pPr>
            <a:lvl5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5pPr>
            <a:lvl6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6pPr>
            <a:lvl7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7pPr>
            <a:lvl8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8pPr>
            <a:lvl9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9pPr>
          </a:lstStyle>
          <a:p>
            <a:r>
              <a:rPr lang="es-ES" sz="2400" dirty="0"/>
              <a:t>I. Alcance del proyecto – Unidades Funcionales</a:t>
            </a:r>
            <a:endParaRPr lang="es-ES_tradnl" sz="2400" dirty="0">
              <a:sym typeface="Museo Sans 500"/>
            </a:endParaRPr>
          </a:p>
        </p:txBody>
      </p:sp>
    </p:spTree>
    <p:extLst>
      <p:ext uri="{BB962C8B-B14F-4D97-AF65-F5344CB8AC3E}">
        <p14:creationId xmlns:p14="http://schemas.microsoft.com/office/powerpoint/2010/main" val="2357895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7" presetClass="emph" presetSubtype="0" repeatCount="indefinite" fill="remove" grpId="0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Clr clrSpc="rgb" dir="cw">
                                      <p:cBhvr override="childStyle">
                                        <p:cTn id="6" dur="500" autoRev="1" fill="remove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7" dur="500" autoRev="1" fill="remove"/>
                                        <p:tgtEl>
                                          <p:spTgt spid="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8" dur="500" autoRev="1" fill="remove"/>
                                        <p:tgtEl>
                                          <p:spTgt spid="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9" dur="500" autoRev="1" fill="remove"/>
                                        <p:tgtEl>
                                          <p:spTgt spid="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93" grpId="0" animBg="1"/>
      <p:bldP spid="5" grpId="0" animBg="1"/>
      <p:bldP spid="94" grpId="0" animBg="1"/>
      <p:bldP spid="6" grpId="0" animBg="1"/>
      <p:bldP spid="96" grpId="0" animBg="1"/>
      <p:bldP spid="7" grpId="0" animBg="1"/>
      <p:bldP spid="110" grpId="0" animBg="1"/>
      <p:bldP spid="111" grpId="0" animBg="1"/>
      <p:bldP spid="2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a 5">
            <a:extLst>
              <a:ext uri="{FF2B5EF4-FFF2-40B4-BE49-F238E27FC236}">
                <a16:creationId xmlns:a16="http://schemas.microsoft.com/office/drawing/2014/main" id="{DB2EB056-DE9E-4655-BF0A-4D2AFF0874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3916082"/>
              </p:ext>
            </p:extLst>
          </p:nvPr>
        </p:nvGraphicFramePr>
        <p:xfrm>
          <a:off x="56445" y="622842"/>
          <a:ext cx="9031110" cy="3827471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5638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5186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239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4336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4547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02626">
                  <a:extLst>
                    <a:ext uri="{9D8B030D-6E8A-4147-A177-3AD203B41FA5}">
                      <a16:colId xmlns:a16="http://schemas.microsoft.com/office/drawing/2014/main" val="2562883374"/>
                    </a:ext>
                  </a:extLst>
                </a:gridCol>
              </a:tblGrid>
              <a:tr h="388628">
                <a:tc>
                  <a:txBody>
                    <a:bodyPr/>
                    <a:lstStyle/>
                    <a:p>
                      <a:pPr algn="ctr"/>
                      <a:r>
                        <a:rPr lang="es-ES_tradnl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F</a:t>
                      </a:r>
                      <a:endParaRPr lang="es-ES_tradnl" sz="800" b="1" i="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tervención</a:t>
                      </a:r>
                      <a:endParaRPr lang="es-ES_tradnl" sz="800" b="1" i="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rigen</a:t>
                      </a:r>
                      <a:endParaRPr lang="es-ES_tradnl" sz="800" b="1" i="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stino</a:t>
                      </a:r>
                      <a:endParaRPr lang="es-ES_tradnl" sz="800" b="1" i="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m</a:t>
                      </a:r>
                      <a:endParaRPr lang="es-ES_tradnl" sz="800" b="1" i="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versión (CAPEX + OPEX)</a:t>
                      </a:r>
                      <a:endParaRPr lang="es-ES_tradnl" sz="800" b="1" i="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5447">
                <a:tc>
                  <a:txBody>
                    <a:bodyPr/>
                    <a:lstStyle/>
                    <a:p>
                      <a:pPr algn="ctr"/>
                      <a:r>
                        <a:rPr lang="es-ES_tradnl" sz="8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es-ES_tradnl" sz="800" b="1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peración y Mantenimiento</a:t>
                      </a:r>
                      <a:endParaRPr lang="es-CO" sz="8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tersección “El Muña” (Chusacá)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K50+072</a:t>
                      </a:r>
                      <a:endParaRPr lang="es-CO" sz="8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asta Intersección Canoas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K44+960</a:t>
                      </a:r>
                      <a:endParaRPr lang="es-CO" sz="8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,5</a:t>
                      </a:r>
                      <a:endParaRPr lang="es-CO" sz="8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 94.067</a:t>
                      </a:r>
                      <a:endParaRPr lang="es-CO" sz="8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1809">
                <a:tc>
                  <a:txBody>
                    <a:bodyPr/>
                    <a:lstStyle/>
                    <a:p>
                      <a:pPr algn="ctr"/>
                      <a:r>
                        <a:rPr lang="es-ES_tradnl" sz="8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endParaRPr lang="es-ES_tradnl" sz="800" b="1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s-CO" sz="8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joramiento</a:t>
                      </a:r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Rehabilitación, Operación y Mantenimiento de calzada Oriental.</a:t>
                      </a:r>
                      <a:endParaRPr lang="es-CO" sz="8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tersección Canoas</a:t>
                      </a:r>
                    </a:p>
                    <a:p>
                      <a:pPr algn="ctr"/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K44+960</a:t>
                      </a:r>
                      <a:endParaRPr lang="es-CO" sz="8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asta estribo norte del puente sobre el Río Bogotá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K35 +400</a:t>
                      </a:r>
                      <a:endParaRPr lang="es-CO" sz="8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.5 </a:t>
                      </a:r>
                      <a:endParaRPr lang="es-CO" sz="8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 103.188</a:t>
                      </a:r>
                      <a:endParaRPr lang="es-CO" sz="8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1809">
                <a:tc rowSpan="2">
                  <a:txBody>
                    <a:bodyPr/>
                    <a:lstStyle/>
                    <a:p>
                      <a:pPr algn="ctr"/>
                      <a:r>
                        <a:rPr lang="es-ES_tradnl" sz="8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endParaRPr lang="es-ES_tradnl" sz="800" b="1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habilitación, Operación y Mantenimiento de calzada Oriental</a:t>
                      </a:r>
                      <a:endParaRPr lang="es-CO" sz="8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stribo norte del puente sobre el Río Bogotá</a:t>
                      </a:r>
                    </a:p>
                    <a:p>
                      <a:pPr algn="ctr"/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K35+400</a:t>
                      </a:r>
                      <a:endParaRPr lang="es-CO" sz="8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asta la proyección de la Avenida Bosa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K33+583</a:t>
                      </a:r>
                      <a:endParaRPr lang="es-CO" sz="8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,8 </a:t>
                      </a:r>
                      <a:endParaRPr lang="es-CO" sz="8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 119.942</a:t>
                      </a:r>
                      <a:endParaRPr lang="es-CO" sz="8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61051075"/>
                  </a:ext>
                </a:extLst>
              </a:tr>
              <a:tr h="345447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s-CO" sz="8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strucción</a:t>
                      </a:r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Operación y Mantenimiento de calzada Oriental.</a:t>
                      </a:r>
                      <a:endParaRPr lang="es-CO" sz="8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oyección de la Avenida Bosa</a:t>
                      </a:r>
                    </a:p>
                    <a:p>
                      <a:pPr algn="ctr"/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K33+583</a:t>
                      </a:r>
                      <a:endParaRPr lang="es-CO" sz="8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asta Avenida Américas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K29+240</a:t>
                      </a:r>
                      <a:endParaRPr lang="es-CO" sz="8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.3 </a:t>
                      </a:r>
                      <a:endParaRPr lang="es-CO" sz="8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700" b="0" i="0" dirty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8719479"/>
                  </a:ext>
                </a:extLst>
              </a:tr>
              <a:tr h="388628">
                <a:tc>
                  <a:txBody>
                    <a:bodyPr/>
                    <a:lstStyle/>
                    <a:p>
                      <a:pPr algn="ctr"/>
                      <a:r>
                        <a:rPr lang="es-ES_tradnl" sz="8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endParaRPr lang="es-ES_tradnl" sz="800" b="1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s-CO" sz="8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strucción</a:t>
                      </a:r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Operación y Mantenimiento del corredor de la calzada Oriental.</a:t>
                      </a:r>
                      <a:endParaRPr lang="es-CO" sz="8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venida Américas</a:t>
                      </a:r>
                    </a:p>
                    <a:p>
                      <a:pPr algn="ctr"/>
                      <a:r>
                        <a:rPr lang="es-ES_tradnl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K29+240</a:t>
                      </a:r>
                      <a:endParaRPr lang="es-ES_tradnl" sz="8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asta intersección con la Calle 13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K25+910</a:t>
                      </a:r>
                      <a:endParaRPr lang="es-CO" sz="8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,3 </a:t>
                      </a:r>
                      <a:endParaRPr lang="es-CO" sz="8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 301.902</a:t>
                      </a:r>
                      <a:endParaRPr lang="es-CO" sz="8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42960478"/>
                  </a:ext>
                </a:extLst>
              </a:tr>
              <a:tr h="690894">
                <a:tc>
                  <a:txBody>
                    <a:bodyPr/>
                    <a:lstStyle/>
                    <a:p>
                      <a:pPr algn="ctr"/>
                      <a:r>
                        <a:rPr lang="es-ES_tradnl" sz="8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endParaRPr lang="es-ES_tradnl" sz="800" b="1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s-CO" sz="8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strucción</a:t>
                      </a:r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Operación y Mantenimiento del corredor de la calzada Occidental, y, Construcción de </a:t>
                      </a:r>
                      <a:r>
                        <a:rPr lang="es-CO" sz="8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spacio público </a:t>
                      </a:r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ra peatones y ciclo usuarios del costado Oriental</a:t>
                      </a:r>
                      <a:endParaRPr lang="es-CO" sz="8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stribo Sur de puente principal Occidental del enlace de la ALO por Calle 13</a:t>
                      </a:r>
                    </a:p>
                    <a:p>
                      <a:pPr algn="ctr"/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K26+070</a:t>
                      </a:r>
                      <a:endParaRPr lang="es-CO" sz="8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asta estribo Sur del puente sobre el Río Bogotá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K35+470</a:t>
                      </a:r>
                      <a:endParaRPr lang="es-CO" sz="8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,5 </a:t>
                      </a:r>
                      <a:endParaRPr lang="es-CO" sz="8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 235.151</a:t>
                      </a:r>
                      <a:endParaRPr lang="es-CO" sz="8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21518330"/>
                  </a:ext>
                </a:extLst>
              </a:tr>
              <a:tr h="390790">
                <a:tc>
                  <a:txBody>
                    <a:bodyPr/>
                    <a:lstStyle/>
                    <a:p>
                      <a:pPr algn="ctr"/>
                      <a:r>
                        <a:rPr lang="es-ES_tradnl" sz="8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endParaRPr lang="es-ES_tradnl" sz="800" b="1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s-CO" sz="8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strucción</a:t>
                      </a:r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Operación y Mantenimiento de la calzada Occidental.</a:t>
                      </a:r>
                      <a:endParaRPr lang="es-CO" sz="8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stribo Sur del puente sobre el Río Bogotá</a:t>
                      </a:r>
                    </a:p>
                    <a:p>
                      <a:pPr algn="ctr"/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K35+470</a:t>
                      </a:r>
                      <a:endParaRPr lang="es-CO" sz="8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asta Intersección Canoas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K44+960</a:t>
                      </a:r>
                      <a:endParaRPr lang="es-CO" sz="8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,5 </a:t>
                      </a:r>
                      <a:endParaRPr lang="es-CO" sz="8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 155.970</a:t>
                      </a:r>
                      <a:endParaRPr lang="es-CO" sz="8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27150582"/>
                  </a:ext>
                </a:extLst>
              </a:tr>
              <a:tr h="388628">
                <a:tc>
                  <a:txBody>
                    <a:bodyPr/>
                    <a:lstStyle/>
                    <a:p>
                      <a:pPr algn="ctr"/>
                      <a:r>
                        <a:rPr lang="es-ES_tradnl" sz="8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  <a:endParaRPr lang="es-ES_tradnl" sz="800" b="1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s-CO" sz="8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strucción</a:t>
                      </a:r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Operación y Mantenimiento del corredor ampliado a cuatro carriles.</a:t>
                      </a:r>
                      <a:endParaRPr lang="es-CO" sz="8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tersección “El Muña” (Chusacá)</a:t>
                      </a:r>
                    </a:p>
                    <a:p>
                      <a:pPr algn="ctr"/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K49+413</a:t>
                      </a:r>
                      <a:endParaRPr lang="es-CO" sz="8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asta Intersección Canoas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K44+960</a:t>
                      </a:r>
                      <a:endParaRPr lang="es-CO" sz="8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.5 </a:t>
                      </a:r>
                      <a:endParaRPr lang="es-CO" sz="8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 101.831</a:t>
                      </a:r>
                      <a:endParaRPr lang="es-CO" sz="8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04297231"/>
                  </a:ext>
                </a:extLst>
              </a:tr>
            </a:tbl>
          </a:graphicData>
        </a:graphic>
      </p:graphicFrame>
      <p:sp>
        <p:nvSpPr>
          <p:cNvPr id="4" name="Rectangle 8">
            <a:extLst>
              <a:ext uri="{FF2B5EF4-FFF2-40B4-BE49-F238E27FC236}">
                <a16:creationId xmlns:a16="http://schemas.microsoft.com/office/drawing/2014/main" id="{E9679F56-5C5C-46C2-A149-001C38BD14A2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993797" y="10326"/>
            <a:ext cx="6503633" cy="64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algn="ctr">
              <a:lnSpc>
                <a:spcPct val="90000"/>
              </a:lnSpc>
              <a:buClr>
                <a:srgbClr val="0054BC"/>
              </a:buClr>
              <a:buSzPts val="1400"/>
              <a:buFont typeface="Work Sans SemiBold"/>
              <a:buNone/>
              <a:defRPr sz="3000">
                <a:solidFill>
                  <a:srgbClr val="0054BC"/>
                </a:solidFill>
                <a:latin typeface="Calibri" panose="020F0502020204030204" pitchFamily="34" charset="0"/>
                <a:ea typeface="Work Sans Light"/>
                <a:cs typeface="Calibri" panose="020F0502020204030204" pitchFamily="34" charset="0"/>
                <a:sym typeface="Work Sans Light"/>
              </a:defRPr>
            </a:lvl1pPr>
            <a:lvl2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2pPr>
            <a:lvl3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3pPr>
            <a:lvl4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4pPr>
            <a:lvl5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5pPr>
            <a:lvl6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6pPr>
            <a:lvl7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7pPr>
            <a:lvl8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8pPr>
            <a:lvl9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9pPr>
          </a:lstStyle>
          <a:p>
            <a:r>
              <a:rPr lang="es-ES" sz="2400" dirty="0"/>
              <a:t>I. Alcance del proyecto – Unidades Funcionales</a:t>
            </a:r>
            <a:endParaRPr lang="es-ES_tradnl" sz="2400" dirty="0">
              <a:sym typeface="Museo Sans 500"/>
            </a:endParaRPr>
          </a:p>
        </p:txBody>
      </p:sp>
    </p:spTree>
    <p:extLst>
      <p:ext uri="{BB962C8B-B14F-4D97-AF65-F5344CB8AC3E}">
        <p14:creationId xmlns:p14="http://schemas.microsoft.com/office/powerpoint/2010/main" val="27174213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AutoShape 131"/>
          <p:cNvSpPr>
            <a:spLocks noChangeAspect="1" noChangeArrowheads="1" noTextEdit="1"/>
          </p:cNvSpPr>
          <p:nvPr/>
        </p:nvSpPr>
        <p:spPr bwMode="auto">
          <a:xfrm>
            <a:off x="0" y="0"/>
            <a:ext cx="9144000" cy="5148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s-CO" sz="1050"/>
          </a:p>
        </p:txBody>
      </p:sp>
      <p:pic>
        <p:nvPicPr>
          <p:cNvPr id="68" name="Imagen 67"/>
          <p:cNvPicPr>
            <a:picLocks noChangeAspect="1"/>
          </p:cNvPicPr>
          <p:nvPr/>
        </p:nvPicPr>
        <p:blipFill rotWithShape="1">
          <a:blip r:embed="rId2"/>
          <a:srcRect t="2647" r="23038" b="85943"/>
          <a:stretch/>
        </p:blipFill>
        <p:spPr>
          <a:xfrm>
            <a:off x="0" y="79805"/>
            <a:ext cx="6746032" cy="586946"/>
          </a:xfrm>
          <a:prstGeom prst="rect">
            <a:avLst/>
          </a:prstGeom>
        </p:spPr>
      </p:pic>
      <p:sp>
        <p:nvSpPr>
          <p:cNvPr id="69" name="3 Rectángulo"/>
          <p:cNvSpPr/>
          <p:nvPr/>
        </p:nvSpPr>
        <p:spPr bwMode="auto">
          <a:xfrm>
            <a:off x="83772" y="178129"/>
            <a:ext cx="6480303" cy="3849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61220" tIns="30611" rIns="61220" bIns="30611">
            <a:spAutoFit/>
          </a:bodyPr>
          <a:lstStyle/>
          <a:p>
            <a:pPr fontAlgn="ctr">
              <a:defRPr/>
            </a:pPr>
            <a:r>
              <a:rPr lang="es-ES" sz="2100" b="1" dirty="0">
                <a:solidFill>
                  <a:schemeClr val="bg1"/>
                </a:solidFill>
                <a:latin typeface="Gotham Rounded Medium" panose="02000000000000000000" pitchFamily="50" charset="0"/>
              </a:rPr>
              <a:t>I. Alcance – Sección típica en Bogotá D.C.</a:t>
            </a:r>
          </a:p>
        </p:txBody>
      </p:sp>
      <p:sp>
        <p:nvSpPr>
          <p:cNvPr id="81" name="Rectángulo 80"/>
          <p:cNvSpPr/>
          <p:nvPr/>
        </p:nvSpPr>
        <p:spPr>
          <a:xfrm>
            <a:off x="6304776" y="4242496"/>
            <a:ext cx="5239467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CO" sz="1050" b="1" dirty="0"/>
              <a:t>Infraestructura Incluida en el Proyecto.</a:t>
            </a:r>
          </a:p>
        </p:txBody>
      </p:sp>
      <p:pic>
        <p:nvPicPr>
          <p:cNvPr id="84" name="Imagen 83"/>
          <p:cNvPicPr>
            <a:picLocks noChangeAspect="1"/>
          </p:cNvPicPr>
          <p:nvPr/>
        </p:nvPicPr>
        <p:blipFill rotWithShape="1">
          <a:blip r:embed="rId2"/>
          <a:srcRect t="2647" r="23038" b="85943"/>
          <a:stretch/>
        </p:blipFill>
        <p:spPr>
          <a:xfrm>
            <a:off x="381514" y="4526395"/>
            <a:ext cx="3852539" cy="591276"/>
          </a:xfrm>
          <a:prstGeom prst="rect">
            <a:avLst/>
          </a:prstGeom>
        </p:spPr>
      </p:pic>
      <p:sp>
        <p:nvSpPr>
          <p:cNvPr id="85" name="3 Rectángulo"/>
          <p:cNvSpPr/>
          <p:nvPr/>
        </p:nvSpPr>
        <p:spPr bwMode="auto">
          <a:xfrm>
            <a:off x="381514" y="4659080"/>
            <a:ext cx="3656189" cy="292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61220" tIns="30611" rIns="61220" bIns="30611">
            <a:spAutoFit/>
          </a:bodyPr>
          <a:lstStyle/>
          <a:p>
            <a:pPr fontAlgn="ctr">
              <a:defRPr/>
            </a:pPr>
            <a:r>
              <a:rPr lang="es-ES" sz="1500" b="1" dirty="0">
                <a:solidFill>
                  <a:schemeClr val="bg1"/>
                </a:solidFill>
                <a:latin typeface="Gotham Rounded Medium" panose="02000000000000000000" pitchFamily="50" charset="0"/>
              </a:rPr>
              <a:t>Sección dentro de Bogotá – 9,5 Km</a:t>
            </a:r>
          </a:p>
        </p:txBody>
      </p:sp>
      <p:grpSp>
        <p:nvGrpSpPr>
          <p:cNvPr id="5" name="Grupo 4"/>
          <p:cNvGrpSpPr/>
          <p:nvPr/>
        </p:nvGrpSpPr>
        <p:grpSpPr>
          <a:xfrm>
            <a:off x="216236" y="1233753"/>
            <a:ext cx="8465354" cy="3299569"/>
            <a:chOff x="288315" y="1595790"/>
            <a:chExt cx="11287138" cy="4399426"/>
          </a:xfrm>
        </p:grpSpPr>
        <p:sp>
          <p:nvSpPr>
            <p:cNvPr id="80" name="Rectángulo 79"/>
            <p:cNvSpPr/>
            <p:nvPr/>
          </p:nvSpPr>
          <p:spPr>
            <a:xfrm>
              <a:off x="8097160" y="5664778"/>
              <a:ext cx="299353" cy="322320"/>
            </a:xfrm>
            <a:prstGeom prst="rect">
              <a:avLst/>
            </a:prstGeom>
            <a:solidFill>
              <a:srgbClr val="FFFF00">
                <a:alpha val="42000"/>
              </a:srgbClr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sz="1013"/>
            </a:p>
          </p:txBody>
        </p:sp>
        <p:pic>
          <p:nvPicPr>
            <p:cNvPr id="82" name="Imagen 8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88315" y="1595790"/>
              <a:ext cx="11287138" cy="3785686"/>
            </a:xfrm>
            <a:prstGeom prst="rect">
              <a:avLst/>
            </a:prstGeom>
          </p:spPr>
        </p:pic>
        <p:sp>
          <p:nvSpPr>
            <p:cNvPr id="2" name="Rectángulo 1"/>
            <p:cNvSpPr/>
            <p:nvPr/>
          </p:nvSpPr>
          <p:spPr>
            <a:xfrm>
              <a:off x="3387777" y="4286250"/>
              <a:ext cx="1349115" cy="1136793"/>
            </a:xfrm>
            <a:prstGeom prst="rect">
              <a:avLst/>
            </a:prstGeom>
            <a:solidFill>
              <a:schemeClr val="accent1">
                <a:alpha val="2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050"/>
            </a:p>
          </p:txBody>
        </p:sp>
        <p:sp>
          <p:nvSpPr>
            <p:cNvPr id="76" name="Rectángulo 75"/>
            <p:cNvSpPr/>
            <p:nvPr/>
          </p:nvSpPr>
          <p:spPr>
            <a:xfrm>
              <a:off x="7075357" y="4392118"/>
              <a:ext cx="1424348" cy="989358"/>
            </a:xfrm>
            <a:prstGeom prst="rect">
              <a:avLst/>
            </a:prstGeom>
            <a:solidFill>
              <a:schemeClr val="accent1">
                <a:alpha val="2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050"/>
            </a:p>
          </p:txBody>
        </p:sp>
        <p:sp>
          <p:nvSpPr>
            <p:cNvPr id="3" name="Rectángulo 2"/>
            <p:cNvSpPr/>
            <p:nvPr/>
          </p:nvSpPr>
          <p:spPr>
            <a:xfrm flipV="1">
              <a:off x="7075357" y="4167266"/>
              <a:ext cx="1424348" cy="16470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050"/>
            </a:p>
          </p:txBody>
        </p:sp>
        <p:sp>
          <p:nvSpPr>
            <p:cNvPr id="78" name="Rectángulo 77"/>
            <p:cNvSpPr/>
            <p:nvPr/>
          </p:nvSpPr>
          <p:spPr>
            <a:xfrm>
              <a:off x="9830593" y="4286250"/>
              <a:ext cx="1654969" cy="1095226"/>
            </a:xfrm>
            <a:prstGeom prst="rect">
              <a:avLst/>
            </a:prstGeom>
            <a:solidFill>
              <a:schemeClr val="accent1">
                <a:alpha val="2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050"/>
            </a:p>
          </p:txBody>
        </p:sp>
        <p:sp>
          <p:nvSpPr>
            <p:cNvPr id="79" name="Rectángulo 78"/>
            <p:cNvSpPr/>
            <p:nvPr/>
          </p:nvSpPr>
          <p:spPr>
            <a:xfrm>
              <a:off x="8097160" y="5609176"/>
              <a:ext cx="320547" cy="386040"/>
            </a:xfrm>
            <a:prstGeom prst="rect">
              <a:avLst/>
            </a:prstGeom>
            <a:solidFill>
              <a:schemeClr val="accent1">
                <a:alpha val="2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050"/>
            </a:p>
          </p:txBody>
        </p:sp>
        <p:sp>
          <p:nvSpPr>
            <p:cNvPr id="4" name="Rectángulo 3"/>
            <p:cNvSpPr/>
            <p:nvPr/>
          </p:nvSpPr>
          <p:spPr>
            <a:xfrm rot="498725">
              <a:off x="5555131" y="2059674"/>
              <a:ext cx="151102" cy="352913"/>
            </a:xfrm>
            <a:prstGeom prst="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050"/>
            </a:p>
          </p:txBody>
        </p:sp>
        <p:sp>
          <p:nvSpPr>
            <p:cNvPr id="86" name="Rectángulo 85"/>
            <p:cNvSpPr/>
            <p:nvPr/>
          </p:nvSpPr>
          <p:spPr>
            <a:xfrm rot="20901883">
              <a:off x="5989857" y="1812186"/>
              <a:ext cx="58811" cy="258514"/>
            </a:xfrm>
            <a:prstGeom prst="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050"/>
            </a:p>
          </p:txBody>
        </p:sp>
      </p:grpSp>
    </p:spTree>
    <p:extLst>
      <p:ext uri="{BB962C8B-B14F-4D97-AF65-F5344CB8AC3E}">
        <p14:creationId xmlns:p14="http://schemas.microsoft.com/office/powerpoint/2010/main" val="17798920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AutoShape 131"/>
          <p:cNvSpPr>
            <a:spLocks noChangeAspect="1" noChangeArrowheads="1" noTextEdit="1"/>
          </p:cNvSpPr>
          <p:nvPr/>
        </p:nvSpPr>
        <p:spPr bwMode="auto">
          <a:xfrm>
            <a:off x="0" y="0"/>
            <a:ext cx="9144000" cy="5148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s-CO" sz="1050"/>
          </a:p>
        </p:txBody>
      </p:sp>
      <p:pic>
        <p:nvPicPr>
          <p:cNvPr id="68" name="Imagen 67"/>
          <p:cNvPicPr>
            <a:picLocks noChangeAspect="1"/>
          </p:cNvPicPr>
          <p:nvPr/>
        </p:nvPicPr>
        <p:blipFill rotWithShape="1">
          <a:blip r:embed="rId2"/>
          <a:srcRect t="2647" r="23038" b="85943"/>
          <a:stretch/>
        </p:blipFill>
        <p:spPr>
          <a:xfrm>
            <a:off x="0" y="79805"/>
            <a:ext cx="6746032" cy="586946"/>
          </a:xfrm>
          <a:prstGeom prst="rect">
            <a:avLst/>
          </a:prstGeom>
        </p:spPr>
      </p:pic>
      <p:sp>
        <p:nvSpPr>
          <p:cNvPr id="69" name="3 Rectángulo"/>
          <p:cNvSpPr/>
          <p:nvPr/>
        </p:nvSpPr>
        <p:spPr bwMode="auto">
          <a:xfrm>
            <a:off x="88223" y="179698"/>
            <a:ext cx="6480303" cy="3849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61220" tIns="30611" rIns="61220" bIns="30611">
            <a:spAutoFit/>
          </a:bodyPr>
          <a:lstStyle/>
          <a:p>
            <a:pPr fontAlgn="ctr">
              <a:defRPr/>
            </a:pPr>
            <a:r>
              <a:rPr lang="es-ES" sz="2100" b="1" dirty="0">
                <a:solidFill>
                  <a:schemeClr val="bg1"/>
                </a:solidFill>
                <a:latin typeface="Gotham Rounded Medium" panose="02000000000000000000" pitchFamily="50" charset="0"/>
              </a:rPr>
              <a:t>I. Alcance – Intersección Chusacá</a:t>
            </a:r>
          </a:p>
        </p:txBody>
      </p:sp>
      <p:grpSp>
        <p:nvGrpSpPr>
          <p:cNvPr id="7" name="Grupo 6"/>
          <p:cNvGrpSpPr/>
          <p:nvPr/>
        </p:nvGrpSpPr>
        <p:grpSpPr>
          <a:xfrm>
            <a:off x="44111" y="800571"/>
            <a:ext cx="9055777" cy="4293616"/>
            <a:chOff x="785415" y="1339887"/>
            <a:chExt cx="10799366" cy="5522854"/>
          </a:xfrm>
        </p:grpSpPr>
        <p:pic>
          <p:nvPicPr>
            <p:cNvPr id="2" name="Imagen 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85415" y="1339887"/>
              <a:ext cx="10799366" cy="5522854"/>
            </a:xfrm>
            <a:prstGeom prst="rect">
              <a:avLst/>
            </a:prstGeom>
          </p:spPr>
        </p:pic>
        <p:pic>
          <p:nvPicPr>
            <p:cNvPr id="76" name="Imagen 75"/>
            <p:cNvPicPr>
              <a:picLocks noChangeAspect="1"/>
            </p:cNvPicPr>
            <p:nvPr/>
          </p:nvPicPr>
          <p:blipFill rotWithShape="1">
            <a:blip r:embed="rId2"/>
            <a:srcRect t="2647" r="23038" b="85943"/>
            <a:stretch/>
          </p:blipFill>
          <p:spPr>
            <a:xfrm>
              <a:off x="868439" y="1733850"/>
              <a:ext cx="1735656" cy="390202"/>
            </a:xfrm>
            <a:prstGeom prst="rect">
              <a:avLst/>
            </a:prstGeom>
          </p:spPr>
        </p:pic>
        <p:sp>
          <p:nvSpPr>
            <p:cNvPr id="77" name="3 Rectángulo"/>
            <p:cNvSpPr/>
            <p:nvPr/>
          </p:nvSpPr>
          <p:spPr bwMode="auto">
            <a:xfrm>
              <a:off x="868439" y="1708918"/>
              <a:ext cx="1735656" cy="3902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61220" tIns="30611" rIns="61220" bIns="30611">
              <a:spAutoFit/>
            </a:bodyPr>
            <a:lstStyle/>
            <a:p>
              <a:pPr algn="ctr" fontAlgn="ctr">
                <a:defRPr/>
              </a:pPr>
              <a:r>
                <a:rPr lang="es-ES" sz="1500" b="1" dirty="0">
                  <a:solidFill>
                    <a:schemeClr val="bg1"/>
                  </a:solidFill>
                  <a:latin typeface="Gotham Rounded Medium" panose="02000000000000000000" pitchFamily="50" charset="0"/>
                </a:rPr>
                <a:t>A Girardot</a:t>
              </a:r>
            </a:p>
          </p:txBody>
        </p:sp>
        <p:pic>
          <p:nvPicPr>
            <p:cNvPr id="78" name="Imagen 77"/>
            <p:cNvPicPr>
              <a:picLocks noChangeAspect="1"/>
            </p:cNvPicPr>
            <p:nvPr/>
          </p:nvPicPr>
          <p:blipFill rotWithShape="1">
            <a:blip r:embed="rId2"/>
            <a:srcRect t="2647" r="23038" b="85943"/>
            <a:stretch/>
          </p:blipFill>
          <p:spPr>
            <a:xfrm>
              <a:off x="4009528" y="6388624"/>
              <a:ext cx="1735656" cy="390202"/>
            </a:xfrm>
            <a:prstGeom prst="rect">
              <a:avLst/>
            </a:prstGeom>
          </p:spPr>
        </p:pic>
        <p:sp>
          <p:nvSpPr>
            <p:cNvPr id="79" name="3 Rectángulo"/>
            <p:cNvSpPr/>
            <p:nvPr/>
          </p:nvSpPr>
          <p:spPr bwMode="auto">
            <a:xfrm>
              <a:off x="4009528" y="6363692"/>
              <a:ext cx="1735656" cy="3902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61220" tIns="30611" rIns="61220" bIns="30611">
              <a:spAutoFit/>
            </a:bodyPr>
            <a:lstStyle/>
            <a:p>
              <a:pPr algn="ctr" fontAlgn="ctr">
                <a:defRPr/>
              </a:pPr>
              <a:r>
                <a:rPr lang="es-ES" sz="1500" b="1" dirty="0">
                  <a:solidFill>
                    <a:schemeClr val="bg1"/>
                  </a:solidFill>
                  <a:latin typeface="Gotham Rounded Medium" panose="02000000000000000000" pitchFamily="50" charset="0"/>
                </a:rPr>
                <a:t>A Soacha</a:t>
              </a:r>
            </a:p>
          </p:txBody>
        </p:sp>
        <p:pic>
          <p:nvPicPr>
            <p:cNvPr id="82" name="Imagen 81"/>
            <p:cNvPicPr>
              <a:picLocks noChangeAspect="1"/>
            </p:cNvPicPr>
            <p:nvPr/>
          </p:nvPicPr>
          <p:blipFill rotWithShape="1">
            <a:blip r:embed="rId2"/>
            <a:srcRect t="2647" r="23038" b="85943"/>
            <a:stretch/>
          </p:blipFill>
          <p:spPr>
            <a:xfrm>
              <a:off x="9816047" y="1708960"/>
              <a:ext cx="1735656" cy="390202"/>
            </a:xfrm>
            <a:prstGeom prst="rect">
              <a:avLst/>
            </a:prstGeom>
          </p:spPr>
        </p:pic>
        <p:sp>
          <p:nvSpPr>
            <p:cNvPr id="86" name="3 Rectángulo"/>
            <p:cNvSpPr/>
            <p:nvPr/>
          </p:nvSpPr>
          <p:spPr bwMode="auto">
            <a:xfrm>
              <a:off x="9816046" y="1684028"/>
              <a:ext cx="1735656" cy="3902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61220" tIns="30611" rIns="61220" bIns="30611">
              <a:spAutoFit/>
            </a:bodyPr>
            <a:lstStyle/>
            <a:p>
              <a:pPr algn="ctr" fontAlgn="ctr">
                <a:defRPr/>
              </a:pPr>
              <a:r>
                <a:rPr lang="es-ES" sz="1500" b="1" dirty="0">
                  <a:solidFill>
                    <a:schemeClr val="bg1"/>
                  </a:solidFill>
                  <a:latin typeface="Gotham Rounded Medium" panose="02000000000000000000" pitchFamily="50" charset="0"/>
                </a:rPr>
                <a:t>A Bogotá</a:t>
              </a:r>
            </a:p>
          </p:txBody>
        </p:sp>
        <p:sp>
          <p:nvSpPr>
            <p:cNvPr id="4" name="Rectángulo 3"/>
            <p:cNvSpPr/>
            <p:nvPr/>
          </p:nvSpPr>
          <p:spPr>
            <a:xfrm rot="868282">
              <a:off x="3626051" y="2894396"/>
              <a:ext cx="805501" cy="143871"/>
            </a:xfrm>
            <a:prstGeom prst="rect">
              <a:avLst/>
            </a:prstGeom>
            <a:solidFill>
              <a:srgbClr val="669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050"/>
            </a:p>
          </p:txBody>
        </p:sp>
        <p:sp>
          <p:nvSpPr>
            <p:cNvPr id="83" name="Rectángulo 82"/>
            <p:cNvSpPr/>
            <p:nvPr/>
          </p:nvSpPr>
          <p:spPr>
            <a:xfrm rot="3132488" flipH="1">
              <a:off x="4087636" y="3029740"/>
              <a:ext cx="358111" cy="208041"/>
            </a:xfrm>
            <a:prstGeom prst="rect">
              <a:avLst/>
            </a:prstGeom>
            <a:solidFill>
              <a:srgbClr val="669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050"/>
            </a:p>
          </p:txBody>
        </p:sp>
      </p:grpSp>
      <p:sp>
        <p:nvSpPr>
          <p:cNvPr id="80" name="CuadroTexto 79"/>
          <p:cNvSpPr txBox="1"/>
          <p:nvPr/>
        </p:nvSpPr>
        <p:spPr>
          <a:xfrm rot="1577910">
            <a:off x="7731947" y="2310542"/>
            <a:ext cx="122497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050" dirty="0">
                <a:solidFill>
                  <a:schemeClr val="bg1"/>
                </a:solidFill>
              </a:rPr>
              <a:t>Río Bogotá</a:t>
            </a:r>
          </a:p>
        </p:txBody>
      </p:sp>
      <p:sp>
        <p:nvSpPr>
          <p:cNvPr id="81" name="CuadroTexto 80"/>
          <p:cNvSpPr txBox="1"/>
          <p:nvPr/>
        </p:nvSpPr>
        <p:spPr>
          <a:xfrm rot="205251">
            <a:off x="5092274" y="1736800"/>
            <a:ext cx="158053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500" b="1" dirty="0">
                <a:solidFill>
                  <a:schemeClr val="bg1"/>
                </a:solidFill>
              </a:rPr>
              <a:t>Nueva conectante</a:t>
            </a:r>
          </a:p>
        </p:txBody>
      </p:sp>
    </p:spTree>
    <p:extLst>
      <p:ext uri="{BB962C8B-B14F-4D97-AF65-F5344CB8AC3E}">
        <p14:creationId xmlns:p14="http://schemas.microsoft.com/office/powerpoint/2010/main" val="32077170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Vvfoa9ukC0mhKYK_KKa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Vvfoa9ukC0mhKYK_KKa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Vvfoa9ukC0mhKYK_KKa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Vvfoa9ukC0mhKYK_KKa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Vvfoa9ukC0mhKYK_KKaA"/>
</p:tagLst>
</file>

<file path=ppt/theme/theme1.xml><?xml version="1.0" encoding="utf-8"?>
<a:theme xmlns:a="http://schemas.openxmlformats.org/drawingml/2006/main" name="Presidencia de Colomba">
  <a:themeElements>
    <a:clrScheme name="Presidencia">
      <a:dk1>
        <a:srgbClr val="073763"/>
      </a:dk1>
      <a:lt1>
        <a:srgbClr val="FFFFFF"/>
      </a:lt1>
      <a:dk2>
        <a:srgbClr val="3C78D8"/>
      </a:dk2>
      <a:lt2>
        <a:srgbClr val="A4C2F4"/>
      </a:lt2>
      <a:accent1>
        <a:srgbClr val="E4EDFE"/>
      </a:accent1>
      <a:accent2>
        <a:srgbClr val="B7CFFF"/>
      </a:accent2>
      <a:accent3>
        <a:srgbClr val="88ACF8"/>
      </a:accent3>
      <a:accent4>
        <a:srgbClr val="5B8BFF"/>
      </a:accent4>
      <a:accent5>
        <a:srgbClr val="6D98FF"/>
      </a:accent5>
      <a:accent6>
        <a:srgbClr val="2A54A7"/>
      </a:accent6>
      <a:hlink>
        <a:srgbClr val="F45721"/>
      </a:hlink>
      <a:folHlink>
        <a:srgbClr val="FFA064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46CFB681714D204EAB0FD429C799C5D2" ma:contentTypeVersion="8" ma:contentTypeDescription="Crear nuevo documento." ma:contentTypeScope="" ma:versionID="5a86a5ce84ac2c7e0fbf31c766394dd8">
  <xsd:schema xmlns:xsd="http://www.w3.org/2001/XMLSchema" xmlns:xs="http://www.w3.org/2001/XMLSchema" xmlns:p="http://schemas.microsoft.com/office/2006/metadata/properties" xmlns:ns3="248b3439-deb5-4d66-b6fd-f3a9207263d1" xmlns:ns4="5ad998c2-3f89-4fe3-9403-4e25489222e6" targetNamespace="http://schemas.microsoft.com/office/2006/metadata/properties" ma:root="true" ma:fieldsID="a7c3df66552e298064f096df0abf861d" ns3:_="" ns4:_="">
    <xsd:import namespace="248b3439-deb5-4d66-b6fd-f3a9207263d1"/>
    <xsd:import namespace="5ad998c2-3f89-4fe3-9403-4e25489222e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48b3439-deb5-4d66-b6fd-f3a9207263d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d998c2-3f89-4fe3-9403-4e25489222e6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Hash de la sugerencia para compartir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051396E-CA20-4B20-B7C8-FFA55F28AE0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31C9961-B64E-43DB-A96F-E518CE8D5BF9}">
  <ds:schemaRefs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purl.org/dc/dcmitype/"/>
    <ds:schemaRef ds:uri="http://purl.org/dc/elements/1.1/"/>
    <ds:schemaRef ds:uri="http://schemas.microsoft.com/office/2006/metadata/properties"/>
    <ds:schemaRef ds:uri="5ad998c2-3f89-4fe3-9403-4e25489222e6"/>
    <ds:schemaRef ds:uri="http://schemas.microsoft.com/office/2006/documentManagement/types"/>
    <ds:schemaRef ds:uri="248b3439-deb5-4d66-b6fd-f3a9207263d1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520A12C5-CE31-401C-B44E-4206FE813B9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48b3439-deb5-4d66-b6fd-f3a9207263d1"/>
    <ds:schemaRef ds:uri="5ad998c2-3f89-4fe3-9403-4e25489222e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141</TotalTime>
  <Words>792</Words>
  <Application>Microsoft Office PowerPoint</Application>
  <PresentationFormat>Presentación en pantalla (16:9)</PresentationFormat>
  <Paragraphs>206</Paragraphs>
  <Slides>16</Slides>
  <Notes>2</Notes>
  <HiddenSlides>0</HiddenSlides>
  <MMClips>0</MMClips>
  <ScaleCrop>false</ScaleCrop>
  <HeadingPairs>
    <vt:vector size="6" baseType="variant">
      <vt:variant>
        <vt:lpstr>Fue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16</vt:i4>
      </vt:variant>
    </vt:vector>
  </HeadingPairs>
  <TitlesOfParts>
    <vt:vector size="23" baseType="lpstr">
      <vt:lpstr>Arial</vt:lpstr>
      <vt:lpstr>Calibri</vt:lpstr>
      <vt:lpstr>Gotham Rounded Medium</vt:lpstr>
      <vt:lpstr>Work Sans</vt:lpstr>
      <vt:lpstr>Work Sans Light</vt:lpstr>
      <vt:lpstr>Work Sans SemiBold</vt:lpstr>
      <vt:lpstr>Presidencia de Colomba</vt:lpstr>
      <vt:lpstr>Presentación de PowerPoint</vt:lpstr>
      <vt:lpstr>Contenido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Clara Maria Plazas Moreno</dc:creator>
  <cp:lastModifiedBy>alejandra pinilla reyes</cp:lastModifiedBy>
  <cp:revision>130</cp:revision>
  <dcterms:modified xsi:type="dcterms:W3CDTF">2021-03-29T19:54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CFB681714D204EAB0FD429C799C5D2</vt:lpwstr>
  </property>
</Properties>
</file>